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tags/tag121.xml" ContentType="application/vnd.openxmlformats-officedocument.presentationml.tags+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tags/tag122.xml" ContentType="application/vnd.openxmlformats-officedocument.presentationml.tags+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tags/tag123.xml" ContentType="application/vnd.openxmlformats-officedocument.presentationml.tags+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124.xml" ContentType="application/vnd.openxmlformats-officedocument.presentationml.tags+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tags/tag125.xml" ContentType="application/vnd.openxmlformats-officedocument.presentationml.tags+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tags/tag126.xml" ContentType="application/vnd.openxmlformats-officedocument.presentationml.tags+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tags/tag127.xml" ContentType="application/vnd.openxmlformats-officedocument.presentationml.tags+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tags/tag128.xml" ContentType="application/vnd.openxmlformats-officedocument.presentationml.tags+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tags/tag129.xml" ContentType="application/vnd.openxmlformats-officedocument.presentationml.tags+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tags/tag130.xml" ContentType="application/vnd.openxmlformats-officedocument.presentationml.tags+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tags/tag131.xml" ContentType="application/vnd.openxmlformats-officedocument.presentationml.tags+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tags/tag132.xml" ContentType="application/vnd.openxmlformats-officedocument.presentationml.tags+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tags/tag133.xml" ContentType="application/vnd.openxmlformats-officedocument.presentationml.tags+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tags/tag134.xml" ContentType="application/vnd.openxmlformats-officedocument.presentationml.tags+xml"/>
  <Override PartName="/ppt/charts/chart319.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tags/tag135.xml" ContentType="application/vnd.openxmlformats-officedocument.presentationml.tags+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13"/>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 id="2147475266" r:id="rId98"/>
    <p:sldId id="2147475267" r:id="rId99"/>
    <p:sldId id="2147475268" r:id="rId100"/>
    <p:sldId id="2147475269" r:id="rId101"/>
    <p:sldId id="2147475270" r:id="rId102"/>
    <p:sldId id="2147475271" r:id="rId103"/>
    <p:sldId id="2147475272" r:id="rId104"/>
    <p:sldId id="2147475273" r:id="rId105"/>
    <p:sldId id="2147475274" r:id="rId106"/>
    <p:sldId id="2147475275" r:id="rId107"/>
    <p:sldId id="2147475276" r:id="rId108"/>
    <p:sldId id="2147475277" r:id="rId109"/>
    <p:sldId id="2147475278" r:id="rId110"/>
    <p:sldId id="2147475279" r:id="rId111"/>
    <p:sldId id="2147475280" r:id="rId11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Base Price Bracket" id="{2B2D8E79-B60E-4CE0-A69C-6390B8D9E7F8}">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7" d="100"/>
          <a:sy n="57" d="100"/>
        </p:scale>
        <p:origin x="67" y="13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tableStyles" Target="tableStyles.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notesMaster" Target="notesMasters/notesMaster1.xml"/><Relationship Id="rId118" Type="http://schemas.microsoft.com/office/2015/10/relationships/revisionInfo" Target="revisionInfo.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presProps" Target="presProps.xml"/><Relationship Id="rId119" Type="http://schemas.microsoft.com/office/2018/10/relationships/authors" Targe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viewProps" Target="view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99999999999998E-2</c:v>
                </c:pt>
                <c:pt idx="1">
                  <c:v>1.2800000000000001E-2</c:v>
                </c:pt>
                <c:pt idx="2">
                  <c:v>6.3100000000000003E-2</c:v>
                </c:pt>
                <c:pt idx="3">
                  <c:v>1.35E-2</c:v>
                </c:pt>
                <c:pt idx="4">
                  <c:v>0.10100000000000001</c:v>
                </c:pt>
                <c:pt idx="5">
                  <c:v>0.1709</c:v>
                </c:pt>
                <c:pt idx="6">
                  <c:v>7.7899999999999997E-2</c:v>
                </c:pt>
                <c:pt idx="7">
                  <c:v>0.28749999999999998</c:v>
                </c:pt>
                <c:pt idx="8">
                  <c:v>0.2348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5199999999999994E-2</c:v>
                </c:pt>
                <c:pt idx="1">
                  <c:v>2.8000000000000001E-2</c:v>
                </c:pt>
                <c:pt idx="2">
                  <c:v>0.14069999999999999</c:v>
                </c:pt>
                <c:pt idx="3">
                  <c:v>1.6899999999999998E-2</c:v>
                </c:pt>
                <c:pt idx="4">
                  <c:v>1.0699999999999999E-2</c:v>
                </c:pt>
                <c:pt idx="5">
                  <c:v>0.28499999999999998</c:v>
                </c:pt>
                <c:pt idx="6">
                  <c:v>0.14480000000000001</c:v>
                </c:pt>
                <c:pt idx="7">
                  <c:v>0.300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4.4999999999999997E-3</c:v>
                </c:pt>
                <c:pt idx="5">
                  <c:v>0.36180000000000001</c:v>
                </c:pt>
                <c:pt idx="6">
                  <c:v>0.60870000000000002</c:v>
                </c:pt>
                <c:pt idx="7">
                  <c:v>2.3699999999999999E-2</c:v>
                </c:pt>
                <c:pt idx="8">
                  <c:v>8.9999999999999998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042663796472107</c:v>
                </c:pt>
                <c:pt idx="1">
                  <c:v>1.3453865500078963E-2</c:v>
                </c:pt>
                <c:pt idx="2">
                  <c:v>3.5980749098393418E-2</c:v>
                </c:pt>
                <c:pt idx="3">
                  <c:v>6.8158264588788361E-2</c:v>
                </c:pt>
                <c:pt idx="4">
                  <c:v>0.10261235695035056</c:v>
                </c:pt>
                <c:pt idx="5">
                  <c:v>9.5246729925306625E-2</c:v>
                </c:pt>
                <c:pt idx="6">
                  <c:v>0.11829683784830797</c:v>
                </c:pt>
                <c:pt idx="7">
                  <c:v>0.16405425177370969</c:v>
                </c:pt>
                <c:pt idx="8">
                  <c:v>0.12841875086977006</c:v>
                </c:pt>
                <c:pt idx="9">
                  <c:v>5.7041081814469298E-2</c:v>
                </c:pt>
                <c:pt idx="10">
                  <c:v>1.247073198361437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5.2530171597464694E-6</c:v>
                </c:pt>
                <c:pt idx="3">
                  <c:v>3.7470702667157887E-7</c:v>
                </c:pt>
                <c:pt idx="5">
                  <c:v>4.1940006166629257E-4</c:v>
                </c:pt>
                <c:pt idx="6">
                  <c:v>7.0565746233392543E-4</c:v>
                </c:pt>
                <c:pt idx="7">
                  <c:v>2.7420917836099253E-5</c:v>
                </c:pt>
                <c:pt idx="8">
                  <c:v>1.0244580711936257E-6</c:v>
                </c:pt>
                <c:pt idx="9">
                  <c:v>1.6696789789510767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004703813147877</c:v>
                </c:pt>
                <c:pt idx="1">
                  <c:v>1.2275725127795999E-2</c:v>
                </c:pt>
                <c:pt idx="2">
                  <c:v>1.8469185089462294E-2</c:v>
                </c:pt>
                <c:pt idx="3">
                  <c:v>6.691343801468097E-2</c:v>
                </c:pt>
                <c:pt idx="4">
                  <c:v>8.2952644153203706E-2</c:v>
                </c:pt>
                <c:pt idx="5">
                  <c:v>4.2441430178880114E-2</c:v>
                </c:pt>
                <c:pt idx="6">
                  <c:v>9.7661800196153892E-2</c:v>
                </c:pt>
                <c:pt idx="7">
                  <c:v>5.565914094374548E-2</c:v>
                </c:pt>
                <c:pt idx="8">
                  <c:v>4.970521261066959E-2</c:v>
                </c:pt>
                <c:pt idx="9">
                  <c:v>1.721754842547292E-3</c:v>
                </c:pt>
                <c:pt idx="10">
                  <c:v>8.2735376205324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1.3951274516831598E-3</c:v>
                </c:pt>
                <c:pt idx="7">
                  <c:v>5.1419770360222725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0">
                  <c:v>2.2524558343829425E-3</c:v>
                </c:pt>
                <c:pt idx="1">
                  <c:v>9.7779442670631279E-4</c:v>
                </c:pt>
                <c:pt idx="2">
                  <c:v>4.8126898077149281E-3</c:v>
                </c:pt>
                <c:pt idx="3">
                  <c:v>1.0149409010136046E-3</c:v>
                </c:pt>
                <c:pt idx="4">
                  <c:v>7.6613433512760492E-3</c:v>
                </c:pt>
                <c:pt idx="5">
                  <c:v>1.2579519335041778E-2</c:v>
                </c:pt>
                <c:pt idx="6">
                  <c:v>4.6425501669222083E-3</c:v>
                </c:pt>
                <c:pt idx="7">
                  <c:v>2.1884835080617008E-2</c:v>
                </c:pt>
                <c:pt idx="8">
                  <c:v>1.7909607064401922E-2</c:v>
                </c:pt>
                <c:pt idx="9">
                  <c:v>2.1720970326405647E-4</c:v>
                </c:pt>
                <c:pt idx="10">
                  <c:v>3.756098182125233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2">
                  <c:v>1.2678038160748631E-2</c:v>
                </c:pt>
                <c:pt idx="4">
                  <c:v>1.1522241070151051E-2</c:v>
                </c:pt>
                <c:pt idx="5">
                  <c:v>3.9109438223357197E-2</c:v>
                </c:pt>
                <c:pt idx="6">
                  <c:v>1.4824271995437722E-2</c:v>
                </c:pt>
                <c:pt idx="7">
                  <c:v>8.5489831379327003E-2</c:v>
                </c:pt>
                <c:pt idx="8">
                  <c:v>6.0152208246359126E-2</c:v>
                </c:pt>
                <c:pt idx="9">
                  <c:v>5.4984525272847355E-2</c:v>
                </c:pt>
                <c:pt idx="10">
                  <c:v>1.071862263609471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2200000000000001E-2</c:v>
                </c:pt>
                <c:pt idx="3">
                  <c:v>0.2107</c:v>
                </c:pt>
                <c:pt idx="4">
                  <c:v>0.7670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85894299766184268</c:v>
                </c:pt>
                <c:pt idx="2">
                  <c:v>2.9669487465912234E-2</c:v>
                </c:pt>
                <c:pt idx="3">
                  <c:v>2.9102711281740891E-2</c:v>
                </c:pt>
                <c:pt idx="4">
                  <c:v>8.0974768431621824E-2</c:v>
                </c:pt>
                <c:pt idx="5">
                  <c:v>1.293077737727301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1.0842171810640875E-5</c:v>
                </c:pt>
                <c:pt idx="2">
                  <c:v>2.1583607284108189E-3</c:v>
                </c:pt>
                <c:pt idx="3">
                  <c:v>2.0525412968159733E-2</c:v>
                </c:pt>
                <c:pt idx="4">
                  <c:v>7.471929807250811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85894299766184268</c:v>
                </c:pt>
                <c:pt idx="2">
                  <c:v>1.0769160691778822E-2</c:v>
                </c:pt>
                <c:pt idx="3">
                  <c:v>8.576529775487876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2">
                  <c:v>1.67408338982088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rem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2">
                  <c:v>1.132147513763567E-6</c:v>
                </c:pt>
                <c:pt idx="7">
                  <c:v>1.1982583174869869E-6</c:v>
                </c:pt>
                <c:pt idx="8">
                  <c:v>1.4048545791226742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6.2201341345235524E-3</c:v>
                </c:pt>
                <c:pt idx="5">
                  <c:v>1.293077737727301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4582</c:v>
                </c:pt>
                <c:pt idx="7">
                  <c:v>0.4849</c:v>
                </c:pt>
                <c:pt idx="8">
                  <c:v>5.68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85894299766184268</c:v>
                </c:pt>
                <c:pt idx="2">
                  <c:v>2.9669487465912234E-2</c:v>
                </c:pt>
                <c:pt idx="3">
                  <c:v>2.9102711281740891E-2</c:v>
                </c:pt>
                <c:pt idx="4">
                  <c:v>8.0974768431621824E-2</c:v>
                </c:pt>
                <c:pt idx="5">
                  <c:v>1.293077737727301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1.132147513763567E-6</c:v>
                </c:pt>
                <c:pt idx="7">
                  <c:v>1.1982583174869869E-6</c:v>
                </c:pt>
                <c:pt idx="8">
                  <c:v>1.4048545791226742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85894299766184268</c:v>
                </c:pt>
                <c:pt idx="2">
                  <c:v>1.0769160691778822E-2</c:v>
                </c:pt>
                <c:pt idx="3">
                  <c:v>8.576529775487876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1">
                  <c:v>1.0842171810640875E-5</c:v>
                </c:pt>
                <c:pt idx="2">
                  <c:v>2.1583607284108189E-3</c:v>
                </c:pt>
                <c:pt idx="3">
                  <c:v>2.0525412968159733E-2</c:v>
                </c:pt>
                <c:pt idx="4">
                  <c:v>7.471929807250811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2">
                  <c:v>1.67408338982088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6.2201341345235524E-3</c:v>
                </c:pt>
                <c:pt idx="5">
                  <c:v>1.293077737727301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0299999999999999E-2</c:v>
                </c:pt>
                <c:pt idx="5">
                  <c:v>6.4799999999999996E-2</c:v>
                </c:pt>
                <c:pt idx="8">
                  <c:v>0.20039999999999999</c:v>
                </c:pt>
                <c:pt idx="9">
                  <c:v>0.55289999999999995</c:v>
                </c:pt>
                <c:pt idx="10">
                  <c:v>0.161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7253094192123456</c:v>
                </c:pt>
                <c:pt idx="1">
                  <c:v>1.9121564280547131E-2</c:v>
                </c:pt>
                <c:pt idx="2">
                  <c:v>5.130935029973286E-2</c:v>
                </c:pt>
                <c:pt idx="3">
                  <c:v>9.4313553580021053E-2</c:v>
                </c:pt>
                <c:pt idx="4">
                  <c:v>0.12097062150673463</c:v>
                </c:pt>
                <c:pt idx="5">
                  <c:v>0.10211721243163892</c:v>
                </c:pt>
                <c:pt idx="6">
                  <c:v>0.13001597521572245</c:v>
                </c:pt>
                <c:pt idx="7">
                  <c:v>0.15414580935623187</c:v>
                </c:pt>
                <c:pt idx="8">
                  <c:v>4.5808553110812965E-2</c:v>
                </c:pt>
                <c:pt idx="9">
                  <c:v>6.8976179636843615E-3</c:v>
                </c:pt>
                <c:pt idx="10">
                  <c:v>2.768800333639282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814616200563933E-2</c:v>
                </c:pt>
                <c:pt idx="1">
                  <c:v>5.3255131404623693E-2</c:v>
                </c:pt>
                <c:pt idx="2">
                  <c:v>2.0686526735272812E-2</c:v>
                </c:pt>
                <c:pt idx="3">
                  <c:v>7.1043498102399918E-2</c:v>
                </c:pt>
                <c:pt idx="4">
                  <c:v>7.9379630356197994E-2</c:v>
                </c:pt>
                <c:pt idx="5">
                  <c:v>0.15441175398890034</c:v>
                </c:pt>
                <c:pt idx="6">
                  <c:v>0.11533175185132821</c:v>
                </c:pt>
                <c:pt idx="7">
                  <c:v>0.21356179092618227</c:v>
                </c:pt>
                <c:pt idx="8">
                  <c:v>0.14382688602082314</c:v>
                </c:pt>
                <c:pt idx="9">
                  <c:v>7.4289988673847965E-2</c:v>
                </c:pt>
                <c:pt idx="10">
                  <c:v>1.639842573985973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4">
                  <c:v>1.4352886399401051E-3</c:v>
                </c:pt>
                <c:pt idx="5">
                  <c:v>4.579346417051898E-3</c:v>
                </c:pt>
                <c:pt idx="8">
                  <c:v>1.4160566385281284E-2</c:v>
                </c:pt>
                <c:pt idx="9">
                  <c:v>3.9064816353674092E-2</c:v>
                </c:pt>
                <c:pt idx="10">
                  <c:v>1.141584586961863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5.781456530986722E-2</c:v>
                </c:pt>
                <c:pt idx="1">
                  <c:v>5.2607932022666372E-2</c:v>
                </c:pt>
                <c:pt idx="2">
                  <c:v>1.4267721836272155E-2</c:v>
                </c:pt>
                <c:pt idx="3">
                  <c:v>5.551373177155295E-2</c:v>
                </c:pt>
                <c:pt idx="4">
                  <c:v>6.8847187948242711E-2</c:v>
                </c:pt>
                <c:pt idx="5">
                  <c:v>8.5724800488316183E-2</c:v>
                </c:pt>
                <c:pt idx="6">
                  <c:v>8.9442129750089791E-2</c:v>
                </c:pt>
                <c:pt idx="7">
                  <c:v>8.9719952241564607E-2</c:v>
                </c:pt>
                <c:pt idx="8">
                  <c:v>5.083346503167099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1">
                  <c:v>6.4665790494433737E-4</c:v>
                </c:pt>
                <c:pt idx="2">
                  <c:v>6.283405111336183E-3</c:v>
                </c:pt>
                <c:pt idx="5">
                  <c:v>7.0563798323963348E-3</c:v>
                </c:pt>
                <c:pt idx="6">
                  <c:v>1.0937601565107957E-2</c:v>
                </c:pt>
                <c:pt idx="7">
                  <c:v>2.4161939945541742E-2</c:v>
                </c:pt>
                <c:pt idx="8">
                  <c:v>1.9407702560179044E-2</c:v>
                </c:pt>
                <c:pt idx="9">
                  <c:v>4.3745642891219846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3">
                  <c:v>1.552644418616579E-2</c:v>
                </c:pt>
                <c:pt idx="5">
                  <c:v>4.4764317895991973E-2</c:v>
                </c:pt>
                <c:pt idx="6">
                  <c:v>3.9532402110665993E-3</c:v>
                </c:pt>
                <c:pt idx="7">
                  <c:v>7.6163352573572249E-2</c:v>
                </c:pt>
                <c:pt idx="8">
                  <c:v>5.7420990910913422E-4</c:v>
                </c:pt>
                <c:pt idx="9">
                  <c:v>5.135889111891469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9.074525728630399E-3</c:v>
                </c:pt>
                <c:pt idx="5">
                  <c:v>1.2232501093478221E-2</c:v>
                </c:pt>
                <c:pt idx="6">
                  <c:v>1.0992956393732477E-2</c:v>
                </c:pt>
                <c:pt idx="7">
                  <c:v>2.3514881021907338E-2</c:v>
                </c:pt>
                <c:pt idx="8">
                  <c:v>5.8849704472838708E-2</c:v>
                </c:pt>
                <c:pt idx="9">
                  <c:v>3.4320974919835143E-2</c:v>
                </c:pt>
                <c:pt idx="10">
                  <c:v>4.909734926971565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9.4000000000000004E-3</c:v>
                </c:pt>
                <c:pt idx="2">
                  <c:v>9.1700000000000004E-2</c:v>
                </c:pt>
                <c:pt idx="5">
                  <c:v>0.10299999999999999</c:v>
                </c:pt>
                <c:pt idx="6">
                  <c:v>0.15970000000000001</c:v>
                </c:pt>
                <c:pt idx="7">
                  <c:v>0.35270000000000001</c:v>
                </c:pt>
                <c:pt idx="8">
                  <c:v>0.283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814616200563933E-2</c:v>
                </c:pt>
                <c:pt idx="1">
                  <c:v>5.3255131404623693E-2</c:v>
                </c:pt>
                <c:pt idx="2">
                  <c:v>2.0686526735272812E-2</c:v>
                </c:pt>
                <c:pt idx="3">
                  <c:v>7.1043498102399918E-2</c:v>
                </c:pt>
                <c:pt idx="4">
                  <c:v>7.9379630356197994E-2</c:v>
                </c:pt>
                <c:pt idx="5">
                  <c:v>0.15441175398890034</c:v>
                </c:pt>
                <c:pt idx="6">
                  <c:v>0.11533175185132821</c:v>
                </c:pt>
                <c:pt idx="7">
                  <c:v>0.21356179092618227</c:v>
                </c:pt>
                <c:pt idx="8">
                  <c:v>0.14382688602082314</c:v>
                </c:pt>
                <c:pt idx="9">
                  <c:v>7.4289988673847965E-2</c:v>
                </c:pt>
                <c:pt idx="10">
                  <c:v>1.639842573985973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6.4665790494433737E-4</c:v>
                </c:pt>
                <c:pt idx="2">
                  <c:v>6.283405111336183E-3</c:v>
                </c:pt>
                <c:pt idx="5">
                  <c:v>7.0563798323963348E-3</c:v>
                </c:pt>
                <c:pt idx="6">
                  <c:v>1.0937601565107957E-2</c:v>
                </c:pt>
                <c:pt idx="7">
                  <c:v>2.4161939945541742E-2</c:v>
                </c:pt>
                <c:pt idx="8">
                  <c:v>1.9407702560179044E-2</c:v>
                </c:pt>
                <c:pt idx="9">
                  <c:v>4.3745642891219846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5.781456530986722E-2</c:v>
                </c:pt>
                <c:pt idx="1">
                  <c:v>5.2607932022666372E-2</c:v>
                </c:pt>
                <c:pt idx="2">
                  <c:v>1.4267721836272155E-2</c:v>
                </c:pt>
                <c:pt idx="3">
                  <c:v>5.551373177155295E-2</c:v>
                </c:pt>
                <c:pt idx="4">
                  <c:v>6.8847187948242711E-2</c:v>
                </c:pt>
                <c:pt idx="5">
                  <c:v>8.5724800488316183E-2</c:v>
                </c:pt>
                <c:pt idx="6">
                  <c:v>8.9442129750089791E-2</c:v>
                </c:pt>
                <c:pt idx="7">
                  <c:v>8.9719952241564607E-2</c:v>
                </c:pt>
                <c:pt idx="8">
                  <c:v>5.083346503167099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3">
                  <c:v>1.552644418616579E-2</c:v>
                </c:pt>
                <c:pt idx="5">
                  <c:v>4.4764317895991973E-2</c:v>
                </c:pt>
                <c:pt idx="6">
                  <c:v>3.9532402110665993E-3</c:v>
                </c:pt>
                <c:pt idx="7">
                  <c:v>7.6163352573572249E-2</c:v>
                </c:pt>
                <c:pt idx="8">
                  <c:v>5.7420990910913422E-4</c:v>
                </c:pt>
                <c:pt idx="9">
                  <c:v>5.135889111891469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qua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1.4352886399401051E-3</c:v>
                </c:pt>
                <c:pt idx="5">
                  <c:v>4.579346417051898E-3</c:v>
                </c:pt>
                <c:pt idx="8">
                  <c:v>1.4160566385281284E-2</c:v>
                </c:pt>
                <c:pt idx="9">
                  <c:v>3.9064816353674092E-2</c:v>
                </c:pt>
                <c:pt idx="10">
                  <c:v>1.141584586961863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9.074525728630399E-3</c:v>
                </c:pt>
                <c:pt idx="5">
                  <c:v>1.2232501093478221E-2</c:v>
                </c:pt>
                <c:pt idx="6">
                  <c:v>1.0992956393732477E-2</c:v>
                </c:pt>
                <c:pt idx="7">
                  <c:v>2.3514881021907338E-2</c:v>
                </c:pt>
                <c:pt idx="8">
                  <c:v>5.8849704472838708E-2</c:v>
                </c:pt>
                <c:pt idx="9">
                  <c:v>3.4320974919835143E-2</c:v>
                </c:pt>
                <c:pt idx="10">
                  <c:v>4.909734926971565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0.38300000000000001</c:v>
                </c:pt>
                <c:pt idx="5">
                  <c:v>0.60109999999999997</c:v>
                </c:pt>
                <c:pt idx="6">
                  <c:v>1.1999999999999999E-3</c:v>
                </c:pt>
                <c:pt idx="8">
                  <c:v>5.7000000000000002E-3</c:v>
                </c:pt>
                <c:pt idx="9">
                  <c:v>8.8999999999999999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814616200563933E-2</c:v>
                </c:pt>
                <c:pt idx="1">
                  <c:v>5.3255131404623693E-2</c:v>
                </c:pt>
                <c:pt idx="2">
                  <c:v>2.0686526735272812E-2</c:v>
                </c:pt>
                <c:pt idx="3">
                  <c:v>7.1043498102399918E-2</c:v>
                </c:pt>
                <c:pt idx="4">
                  <c:v>7.9379630356197994E-2</c:v>
                </c:pt>
                <c:pt idx="5">
                  <c:v>0.15441175398890034</c:v>
                </c:pt>
                <c:pt idx="6">
                  <c:v>0.11533175185132821</c:v>
                </c:pt>
                <c:pt idx="7">
                  <c:v>0.21356179092618227</c:v>
                </c:pt>
                <c:pt idx="8">
                  <c:v>0.14382688602082314</c:v>
                </c:pt>
                <c:pt idx="9">
                  <c:v>7.4289988673847965E-2</c:v>
                </c:pt>
                <c:pt idx="10">
                  <c:v>1.639842573985973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4">
                  <c:v>1.036032803605693E-4</c:v>
                </c:pt>
                <c:pt idx="5">
                  <c:v>1.626222391481513E-4</c:v>
                </c:pt>
                <c:pt idx="6">
                  <c:v>3.3384297041228736E-7</c:v>
                </c:pt>
                <c:pt idx="7">
                  <c:v>3.4605673762249301E-8</c:v>
                </c:pt>
                <c:pt idx="8">
                  <c:v>1.5287565291440719E-6</c:v>
                </c:pt>
                <c:pt idx="9">
                  <c:v>2.402040884673775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5.781456530986722E-2</c:v>
                </c:pt>
                <c:pt idx="1">
                  <c:v>5.2607932022666372E-2</c:v>
                </c:pt>
                <c:pt idx="2">
                  <c:v>1.4267721836272155E-2</c:v>
                </c:pt>
                <c:pt idx="3">
                  <c:v>5.551373177155295E-2</c:v>
                </c:pt>
                <c:pt idx="4">
                  <c:v>6.8847187948242711E-2</c:v>
                </c:pt>
                <c:pt idx="5">
                  <c:v>8.5724800488316183E-2</c:v>
                </c:pt>
                <c:pt idx="6">
                  <c:v>8.9442129750089791E-2</c:v>
                </c:pt>
                <c:pt idx="7">
                  <c:v>8.9719952241564607E-2</c:v>
                </c:pt>
                <c:pt idx="8">
                  <c:v>5.083346503167099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1">
                  <c:v>6.4665790494433737E-4</c:v>
                </c:pt>
                <c:pt idx="2">
                  <c:v>6.283405111336183E-3</c:v>
                </c:pt>
                <c:pt idx="5">
                  <c:v>7.0563798323963348E-3</c:v>
                </c:pt>
                <c:pt idx="6">
                  <c:v>1.0937601565107957E-2</c:v>
                </c:pt>
                <c:pt idx="7">
                  <c:v>2.4161939945541742E-2</c:v>
                </c:pt>
                <c:pt idx="8">
                  <c:v>1.9407702560179044E-2</c:v>
                </c:pt>
                <c:pt idx="9">
                  <c:v>4.3745642891219846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3">
                  <c:v>1.552644418616579E-2</c:v>
                </c:pt>
                <c:pt idx="5">
                  <c:v>4.4764317895991973E-2</c:v>
                </c:pt>
                <c:pt idx="6">
                  <c:v>3.9532402110665993E-3</c:v>
                </c:pt>
                <c:pt idx="7">
                  <c:v>7.6163352573572249E-2</c:v>
                </c:pt>
                <c:pt idx="8">
                  <c:v>5.7420990910913422E-4</c:v>
                </c:pt>
                <c:pt idx="9">
                  <c:v>5.135889111891469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1.0406211088209934E-2</c:v>
                </c:pt>
                <c:pt idx="5">
                  <c:v>1.6649225271381969E-2</c:v>
                </c:pt>
                <c:pt idx="6">
                  <c:v>1.0992622550762065E-2</c:v>
                </c:pt>
                <c:pt idx="7">
                  <c:v>2.3514846416233574E-2</c:v>
                </c:pt>
                <c:pt idx="8">
                  <c:v>7.3008742101590848E-2</c:v>
                </c:pt>
                <c:pt idx="9">
                  <c:v>7.3383389232624566E-2</c:v>
                </c:pt>
                <c:pt idx="10">
                  <c:v>1.63255807965902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93E-2</c:v>
                </c:pt>
                <c:pt idx="1">
                  <c:v>2.98E-2</c:v>
                </c:pt>
                <c:pt idx="2">
                  <c:v>0.14910000000000001</c:v>
                </c:pt>
                <c:pt idx="3">
                  <c:v>1.7399999999999999E-2</c:v>
                </c:pt>
                <c:pt idx="4">
                  <c:v>9.9000000000000008E-3</c:v>
                </c:pt>
                <c:pt idx="5">
                  <c:v>0.28799999999999998</c:v>
                </c:pt>
                <c:pt idx="6">
                  <c:v>0.1129</c:v>
                </c:pt>
                <c:pt idx="7">
                  <c:v>0.31790000000000002</c:v>
                </c:pt>
                <c:pt idx="8">
                  <c:v>1E-3</c:v>
                </c:pt>
                <c:pt idx="9">
                  <c:v>4.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725309419212345</c:v>
                </c:pt>
                <c:pt idx="1">
                  <c:v>1.9121564280547131E-2</c:v>
                </c:pt>
                <c:pt idx="2">
                  <c:v>5.130935029973286E-2</c:v>
                </c:pt>
                <c:pt idx="3">
                  <c:v>9.4313553580021053E-2</c:v>
                </c:pt>
                <c:pt idx="4">
                  <c:v>0.12097062150673465</c:v>
                </c:pt>
                <c:pt idx="5">
                  <c:v>0.10211721243163892</c:v>
                </c:pt>
                <c:pt idx="6">
                  <c:v>0.13001597521572245</c:v>
                </c:pt>
                <c:pt idx="7">
                  <c:v>0.15414580935623184</c:v>
                </c:pt>
                <c:pt idx="8">
                  <c:v>4.5808553110812972E-2</c:v>
                </c:pt>
                <c:pt idx="9">
                  <c:v>6.8976179636843615E-3</c:v>
                </c:pt>
                <c:pt idx="10">
                  <c:v>2.768800333639282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0">
                  <c:v>3.1610017520727098E-3</c:v>
                </c:pt>
                <c:pt idx="1">
                  <c:v>1.3581229249835136E-3</c:v>
                </c:pt>
                <c:pt idx="2">
                  <c:v>6.8151093094495074E-3</c:v>
                </c:pt>
                <c:pt idx="3">
                  <c:v>8.2056962161092413E-4</c:v>
                </c:pt>
                <c:pt idx="4">
                  <c:v>5.1982383502725458E-4</c:v>
                </c:pt>
                <c:pt idx="5">
                  <c:v>1.3807170467329112E-2</c:v>
                </c:pt>
                <c:pt idx="6">
                  <c:v>7.0156899760590169E-3</c:v>
                </c:pt>
                <c:pt idx="7">
                  <c:v>1.458125129015357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6915919458272536</c:v>
                </c:pt>
                <c:pt idx="1">
                  <c:v>1.7528516197109916E-2</c:v>
                </c:pt>
                <c:pt idx="2">
                  <c:v>2.6372161857471065E-2</c:v>
                </c:pt>
                <c:pt idx="3">
                  <c:v>9.3215771809392944E-2</c:v>
                </c:pt>
                <c:pt idx="4">
                  <c:v>0.10412492917857785</c:v>
                </c:pt>
                <c:pt idx="5">
                  <c:v>3.2013502924251994E-2</c:v>
                </c:pt>
                <c:pt idx="6">
                  <c:v>0.10335224187385329</c:v>
                </c:pt>
                <c:pt idx="7">
                  <c:v>2.2900011909497295E-2</c:v>
                </c:pt>
                <c:pt idx="8">
                  <c:v>6.6766797349124567E-4</c:v>
                </c:pt>
                <c:pt idx="9">
                  <c:v>1.623683303628218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2">
                  <c:v>1.8102979248457558E-2</c:v>
                </c:pt>
                <c:pt idx="4">
                  <c:v>5.4802520377825008E-3</c:v>
                </c:pt>
                <c:pt idx="5">
                  <c:v>5.0221802755203181E-2</c:v>
                </c:pt>
                <c:pt idx="6">
                  <c:v>8.0128713833276469E-3</c:v>
                </c:pt>
                <c:pt idx="7">
                  <c:v>8.673079691791388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Universal Beauty Prods In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5.8893614142225261E-3</c:v>
                </c:pt>
                <c:pt idx="9">
                  <c:v>1.5918994474967794E-3</c:v>
                </c:pt>
                <c:pt idx="10">
                  <c:v>2.473648025211263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4.9433492892788323E-3</c:v>
                </c:pt>
                <c:pt idx="5">
                  <c:v>5.974226481689977E-3</c:v>
                </c:pt>
                <c:pt idx="6">
                  <c:v>1.1406466830879222E-2</c:v>
                </c:pt>
                <c:pt idx="7">
                  <c:v>2.9650386389071071E-2</c:v>
                </c:pt>
                <c:pt idx="8">
                  <c:v>4.4973468907772866E-2</c:v>
                </c:pt>
                <c:pt idx="9">
                  <c:v>3.420708985064368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0">
                  <c:v>3.1609481552227134E-3</c:v>
                </c:pt>
                <c:pt idx="1">
                  <c:v>1.3581229249835136E-3</c:v>
                </c:pt>
                <c:pt idx="2">
                  <c:v>6.807608522700884E-3</c:v>
                </c:pt>
                <c:pt idx="3">
                  <c:v>7.9399759709981681E-4</c:v>
                </c:pt>
                <c:pt idx="4">
                  <c:v>4.5119122043972353E-4</c:v>
                </c:pt>
                <c:pt idx="5">
                  <c:v>1.3146012662945178E-2</c:v>
                </c:pt>
                <c:pt idx="6">
                  <c:v>5.153321417724766E-3</c:v>
                </c:pt>
                <c:pt idx="7">
                  <c:v>1.451018186705845E-2</c:v>
                </c:pt>
                <c:pt idx="8">
                  <c:v>4.6978563105396462E-5</c:v>
                </c:pt>
                <c:pt idx="9">
                  <c:v>2.147320831757797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6716709115264053</c:v>
                </c:pt>
                <c:pt idx="1">
                  <c:v>1.7528516197109916E-2</c:v>
                </c:pt>
                <c:pt idx="2">
                  <c:v>2.6372161857471065E-2</c:v>
                </c:pt>
                <c:pt idx="3">
                  <c:v>9.3215771809392944E-2</c:v>
                </c:pt>
                <c:pt idx="4">
                  <c:v>0.10412492917857785</c:v>
                </c:pt>
                <c:pt idx="5">
                  <c:v>3.2013502924251994E-2</c:v>
                </c:pt>
                <c:pt idx="6">
                  <c:v>0.10335224187385329</c:v>
                </c:pt>
                <c:pt idx="7">
                  <c:v>2.2391748360564075E-2</c:v>
                </c:pt>
                <c:pt idx="8">
                  <c:v>6.6766797349124567E-4</c:v>
                </c:pt>
                <c:pt idx="9">
                  <c:v>1.623683303628218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1.99210343008483E-3</c:v>
                </c:pt>
                <c:pt idx="7">
                  <c:v>5.082635489332203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rem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2">
                  <c:v>7.5007867486231376E-6</c:v>
                </c:pt>
                <c:pt idx="3">
                  <c:v>5.3504441634258918E-7</c:v>
                </c:pt>
                <c:pt idx="5">
                  <c:v>5.9886163118303695E-4</c:v>
                </c:pt>
                <c:pt idx="6">
                  <c:v>1.007608766843777E-3</c:v>
                </c:pt>
                <c:pt idx="7">
                  <c:v>3.9154347089554145E-5</c:v>
                </c:pt>
                <c:pt idx="8">
                  <c:v>1.4628243714513277E-6</c:v>
                </c:pt>
                <c:pt idx="9">
                  <c:v>2.3841357412156826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2">
                  <c:v>1.8102979248457558E-2</c:v>
                </c:pt>
                <c:pt idx="4">
                  <c:v>1.6312962741283858E-2</c:v>
                </c:pt>
                <c:pt idx="5">
                  <c:v>5.584439324123798E-2</c:v>
                </c:pt>
                <c:pt idx="6">
                  <c:v>2.0262966494403279E-2</c:v>
                </c:pt>
                <c:pt idx="7">
                  <c:v>0.1163801908411764</c:v>
                </c:pt>
                <c:pt idx="8">
                  <c:v>4.4971236321745434E-2</c:v>
                </c:pt>
                <c:pt idx="9">
                  <c:v>5.0053414389685429E-3</c:v>
                </c:pt>
                <c:pt idx="10">
                  <c:v>2.473648025211263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7.1400000000000005E-2</c:v>
                </c:pt>
                <c:pt idx="5">
                  <c:v>0.22670000000000001</c:v>
                </c:pt>
                <c:pt idx="8">
                  <c:v>0.7017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725309419212345</c:v>
                </c:pt>
                <c:pt idx="1">
                  <c:v>1.9121564280547131E-2</c:v>
                </c:pt>
                <c:pt idx="2">
                  <c:v>5.130935029973286E-2</c:v>
                </c:pt>
                <c:pt idx="3">
                  <c:v>9.4313553580021053E-2</c:v>
                </c:pt>
                <c:pt idx="4">
                  <c:v>0.12097062150673465</c:v>
                </c:pt>
                <c:pt idx="5">
                  <c:v>0.10211721243163892</c:v>
                </c:pt>
                <c:pt idx="6">
                  <c:v>0.13001597521572245</c:v>
                </c:pt>
                <c:pt idx="7">
                  <c:v>0.15414580935623184</c:v>
                </c:pt>
                <c:pt idx="8">
                  <c:v>4.5808553110812972E-2</c:v>
                </c:pt>
                <c:pt idx="9">
                  <c:v>6.8976179636843615E-3</c:v>
                </c:pt>
                <c:pt idx="10">
                  <c:v>2.768800333639282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4">
                  <c:v>6.6096189865636108E-4</c:v>
                </c:pt>
                <c:pt idx="5">
                  <c:v>2.0985024181637345E-3</c:v>
                </c:pt>
                <c:pt idx="6">
                  <c:v>9.2223545338498113E-7</c:v>
                </c:pt>
                <c:pt idx="8">
                  <c:v>6.4973317376540761E-3</c:v>
                </c:pt>
                <c:pt idx="9">
                  <c:v>7.6791348874040007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6716709115264053</c:v>
                </c:pt>
                <c:pt idx="1">
                  <c:v>1.7528516197109916E-2</c:v>
                </c:pt>
                <c:pt idx="2">
                  <c:v>2.6372161857471065E-2</c:v>
                </c:pt>
                <c:pt idx="3">
                  <c:v>9.3215771809392944E-2</c:v>
                </c:pt>
                <c:pt idx="4">
                  <c:v>0.10412492917857785</c:v>
                </c:pt>
                <c:pt idx="5">
                  <c:v>3.2013502924251994E-2</c:v>
                </c:pt>
                <c:pt idx="6">
                  <c:v>0.10335224187385329</c:v>
                </c:pt>
                <c:pt idx="7">
                  <c:v>2.2391748360564075E-2</c:v>
                </c:pt>
                <c:pt idx="8">
                  <c:v>6.6766797349124567E-4</c:v>
                </c:pt>
                <c:pt idx="9">
                  <c:v>1.623683303628218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1.99210343008483E-3</c:v>
                </c:pt>
                <c:pt idx="7">
                  <c:v>5.082635489332203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0">
                  <c:v>3.1609481552227134E-3</c:v>
                </c:pt>
                <c:pt idx="1">
                  <c:v>1.3581229249835136E-3</c:v>
                </c:pt>
                <c:pt idx="2">
                  <c:v>6.807608522700884E-3</c:v>
                </c:pt>
                <c:pt idx="3">
                  <c:v>7.9399759709981681E-4</c:v>
                </c:pt>
                <c:pt idx="4">
                  <c:v>4.5119122043972353E-4</c:v>
                </c:pt>
                <c:pt idx="5">
                  <c:v>1.3146012662945178E-2</c:v>
                </c:pt>
                <c:pt idx="6">
                  <c:v>5.153321417724766E-3</c:v>
                </c:pt>
                <c:pt idx="7">
                  <c:v>1.451018186705845E-2</c:v>
                </c:pt>
                <c:pt idx="8">
                  <c:v>4.6978563105396462E-5</c:v>
                </c:pt>
                <c:pt idx="9">
                  <c:v>2.147320831757797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2">
                  <c:v>1.811048003520618E-2</c:v>
                </c:pt>
                <c:pt idx="3">
                  <c:v>5.3504441634258918E-7</c:v>
                </c:pt>
                <c:pt idx="4">
                  <c:v>1.5652000842627498E-2</c:v>
                </c:pt>
                <c:pt idx="5">
                  <c:v>5.4344752454257281E-2</c:v>
                </c:pt>
                <c:pt idx="6">
                  <c:v>2.1269653025793672E-2</c:v>
                </c:pt>
                <c:pt idx="7">
                  <c:v>0.11641934518826595</c:v>
                </c:pt>
                <c:pt idx="8">
                  <c:v>3.8475367408462809E-2</c:v>
                </c:pt>
                <c:pt idx="9">
                  <c:v>5.0048119390539237E-3</c:v>
                </c:pt>
                <c:pt idx="10">
                  <c:v>2.473648025211263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4.4999999999999997E-3</c:v>
                </c:pt>
                <c:pt idx="5">
                  <c:v>0.36180000000000001</c:v>
                </c:pt>
                <c:pt idx="6">
                  <c:v>0.60870000000000002</c:v>
                </c:pt>
                <c:pt idx="7">
                  <c:v>2.3699999999999999E-2</c:v>
                </c:pt>
                <c:pt idx="8">
                  <c:v>8.9999999999999998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725309419212345</c:v>
                </c:pt>
                <c:pt idx="1">
                  <c:v>1.9121564280547131E-2</c:v>
                </c:pt>
                <c:pt idx="2">
                  <c:v>5.130935029973286E-2</c:v>
                </c:pt>
                <c:pt idx="3">
                  <c:v>9.4313553580021053E-2</c:v>
                </c:pt>
                <c:pt idx="4">
                  <c:v>0.12097062150673465</c:v>
                </c:pt>
                <c:pt idx="5">
                  <c:v>0.10211721243163892</c:v>
                </c:pt>
                <c:pt idx="6">
                  <c:v>0.13001597521572245</c:v>
                </c:pt>
                <c:pt idx="7">
                  <c:v>0.15414580935623184</c:v>
                </c:pt>
                <c:pt idx="8">
                  <c:v>4.5808553110812972E-2</c:v>
                </c:pt>
                <c:pt idx="9">
                  <c:v>6.8976179636843615E-3</c:v>
                </c:pt>
                <c:pt idx="10">
                  <c:v>2.768800333639282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7.5007867486231376E-6</c:v>
                </c:pt>
                <c:pt idx="3">
                  <c:v>5.3504441634258918E-7</c:v>
                </c:pt>
                <c:pt idx="5">
                  <c:v>5.9886163118303695E-4</c:v>
                </c:pt>
                <c:pt idx="6">
                  <c:v>1.007608766843777E-3</c:v>
                </c:pt>
                <c:pt idx="7">
                  <c:v>3.9154347089554145E-5</c:v>
                </c:pt>
                <c:pt idx="8">
                  <c:v>1.4628243714513277E-6</c:v>
                </c:pt>
                <c:pt idx="9">
                  <c:v>2.3841357412156826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6716709115264053</c:v>
                </c:pt>
                <c:pt idx="1">
                  <c:v>1.7528516197109916E-2</c:v>
                </c:pt>
                <c:pt idx="2">
                  <c:v>2.6372161857471065E-2</c:v>
                </c:pt>
                <c:pt idx="3">
                  <c:v>9.3215771809392944E-2</c:v>
                </c:pt>
                <c:pt idx="4">
                  <c:v>0.10412492917857785</c:v>
                </c:pt>
                <c:pt idx="5">
                  <c:v>3.2013502924251994E-2</c:v>
                </c:pt>
                <c:pt idx="6">
                  <c:v>0.10335224187385329</c:v>
                </c:pt>
                <c:pt idx="7">
                  <c:v>2.2391748360564075E-2</c:v>
                </c:pt>
                <c:pt idx="8">
                  <c:v>6.6766797349124567E-4</c:v>
                </c:pt>
                <c:pt idx="9">
                  <c:v>1.623683303628218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1.99210343008483E-3</c:v>
                </c:pt>
                <c:pt idx="7">
                  <c:v>5.082635489332203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0">
                  <c:v>3.1609481552227134E-3</c:v>
                </c:pt>
                <c:pt idx="1">
                  <c:v>1.3581229249835136E-3</c:v>
                </c:pt>
                <c:pt idx="2">
                  <c:v>6.807608522700884E-3</c:v>
                </c:pt>
                <c:pt idx="3">
                  <c:v>7.9399759709981681E-4</c:v>
                </c:pt>
                <c:pt idx="4">
                  <c:v>4.5119122043972353E-4</c:v>
                </c:pt>
                <c:pt idx="5">
                  <c:v>1.3146012662945178E-2</c:v>
                </c:pt>
                <c:pt idx="6">
                  <c:v>5.153321417724766E-3</c:v>
                </c:pt>
                <c:pt idx="7">
                  <c:v>1.451018186705845E-2</c:v>
                </c:pt>
                <c:pt idx="8">
                  <c:v>4.6978563105396462E-5</c:v>
                </c:pt>
                <c:pt idx="9">
                  <c:v>2.147320831757797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2">
                  <c:v>1.8102979248457558E-2</c:v>
                </c:pt>
                <c:pt idx="4">
                  <c:v>1.6312962741283858E-2</c:v>
                </c:pt>
                <c:pt idx="5">
                  <c:v>5.584439324123798E-2</c:v>
                </c:pt>
                <c:pt idx="6">
                  <c:v>2.0262966494403279E-2</c:v>
                </c:pt>
                <c:pt idx="7">
                  <c:v>0.1163801908411764</c:v>
                </c:pt>
                <c:pt idx="8">
                  <c:v>4.4971236321745434E-2</c:v>
                </c:pt>
                <c:pt idx="9">
                  <c:v>5.0053414389685429E-3</c:v>
                </c:pt>
                <c:pt idx="10">
                  <c:v>2.473648025211263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4582</c:v>
                </c:pt>
                <c:pt idx="7">
                  <c:v>0.4849</c:v>
                </c:pt>
                <c:pt idx="8">
                  <c:v>5.68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97693167414395932</c:v>
                </c:pt>
                <c:pt idx="2">
                  <c:v>2.263531236008846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1.5306752230741268E-6</c:v>
                </c:pt>
                <c:pt idx="7">
                  <c:v>1.620057717852178E-6</c:v>
                </c:pt>
                <c:pt idx="8">
                  <c:v>1.8993780140335879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9769316741439593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2">
                  <c:v>2.26337816848653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1600000000000001E-2</c:v>
                </c:pt>
                <c:pt idx="2">
                  <c:v>0.21029999999999999</c:v>
                </c:pt>
                <c:pt idx="6">
                  <c:v>0.36599999999999999</c:v>
                </c:pt>
                <c:pt idx="7">
                  <c:v>0.3924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7.1099999999999997E-2</c:v>
                </c:pt>
                <c:pt idx="5">
                  <c:v>0.22689999999999999</c:v>
                </c:pt>
                <c:pt idx="8">
                  <c:v>0.7016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8.6202884572022451E-2</c:v>
                </c:pt>
                <c:pt idx="1">
                  <c:v>7.9404842486523478E-2</c:v>
                </c:pt>
                <c:pt idx="2">
                  <c:v>3.0844171325525634E-2</c:v>
                </c:pt>
                <c:pt idx="3">
                  <c:v>0.10592777874589783</c:v>
                </c:pt>
                <c:pt idx="4">
                  <c:v>8.8577190654092558E-2</c:v>
                </c:pt>
                <c:pt idx="5">
                  <c:v>0.18749650461514636</c:v>
                </c:pt>
                <c:pt idx="6">
                  <c:v>0.11372801478427069</c:v>
                </c:pt>
                <c:pt idx="7">
                  <c:v>0.21620803666230676</c:v>
                </c:pt>
                <c:pt idx="8">
                  <c:v>8.2207624400386509E-2</c:v>
                </c:pt>
                <c:pt idx="9">
                  <c:v>2.081235533325601E-3</c:v>
                </c:pt>
                <c:pt idx="10">
                  <c:v>7.321716220502131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4">
                  <c:v>2.1400542139540296E-3</c:v>
                </c:pt>
                <c:pt idx="5">
                  <c:v>6.8279294660732216E-3</c:v>
                </c:pt>
                <c:pt idx="6">
                  <c:v>3.1778295380548548E-6</c:v>
                </c:pt>
                <c:pt idx="8">
                  <c:v>2.1113693702116718E-2</c:v>
                </c:pt>
                <c:pt idx="9">
                  <c:v>2.4129651220187291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8.6202884572022451E-2</c:v>
                </c:pt>
                <c:pt idx="1">
                  <c:v>7.843985068899624E-2</c:v>
                </c:pt>
                <c:pt idx="2">
                  <c:v>2.1273559470597031E-2</c:v>
                </c:pt>
                <c:pt idx="3">
                  <c:v>8.2772476771629189E-2</c:v>
                </c:pt>
                <c:pt idx="4">
                  <c:v>7.2873033921330141E-2</c:v>
                </c:pt>
                <c:pt idx="5">
                  <c:v>9.5602925591822499E-2</c:v>
                </c:pt>
                <c:pt idx="6">
                  <c:v>7.6265313837619253E-2</c:v>
                </c:pt>
                <c:pt idx="7">
                  <c:v>6.317271380918207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1">
                  <c:v>9.6418444064363484E-4</c:v>
                </c:pt>
                <c:pt idx="2">
                  <c:v>9.3687271063863688E-3</c:v>
                </c:pt>
                <c:pt idx="6">
                  <c:v>1.6308260003323274E-2</c:v>
                </c:pt>
                <c:pt idx="7">
                  <c:v>1.7484736811884491E-2</c:v>
                </c:pt>
                <c:pt idx="8">
                  <c:v>2.0165711032317532E-5</c:v>
                </c:pt>
                <c:pt idx="9">
                  <c:v>5.3206639734576504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3">
                  <c:v>2.3150348566621928E-2</c:v>
                </c:pt>
                <c:pt idx="5">
                  <c:v>6.6744809707469779E-2</c:v>
                </c:pt>
                <c:pt idx="6">
                  <c:v>5.8943881648910977E-3</c:v>
                </c:pt>
                <c:pt idx="7">
                  <c:v>0.1135616203516677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1.3530363499567691E-2</c:v>
                </c:pt>
                <c:pt idx="5">
                  <c:v>1.8238990251736243E-2</c:v>
                </c:pt>
                <c:pt idx="6">
                  <c:v>1.5251369139174055E-2</c:v>
                </c:pt>
                <c:pt idx="7">
                  <c:v>2.1986482915396545E-2</c:v>
                </c:pt>
                <c:pt idx="8">
                  <c:v>6.1042618008517784E-2</c:v>
                </c:pt>
                <c:pt idx="9">
                  <c:v>2.0535304444780703E-3</c:v>
                </c:pt>
                <c:pt idx="10">
                  <c:v>7.320547677644298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18E-2</c:v>
                </c:pt>
                <c:pt idx="2">
                  <c:v>0.2122</c:v>
                </c:pt>
                <c:pt idx="6">
                  <c:v>0.36940000000000001</c:v>
                </c:pt>
                <c:pt idx="7">
                  <c:v>0.39600000000000002</c:v>
                </c:pt>
                <c:pt idx="8">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8.6202884572022451E-2</c:v>
                </c:pt>
                <c:pt idx="1">
                  <c:v>7.9404842486523478E-2</c:v>
                </c:pt>
                <c:pt idx="2">
                  <c:v>3.0844171325525634E-2</c:v>
                </c:pt>
                <c:pt idx="3">
                  <c:v>0.10592777874589783</c:v>
                </c:pt>
                <c:pt idx="4">
                  <c:v>8.8577190654092558E-2</c:v>
                </c:pt>
                <c:pt idx="5">
                  <c:v>0.18749650461514636</c:v>
                </c:pt>
                <c:pt idx="6">
                  <c:v>0.11372801478427069</c:v>
                </c:pt>
                <c:pt idx="7">
                  <c:v>0.21620803666230676</c:v>
                </c:pt>
                <c:pt idx="8">
                  <c:v>8.2207624400386509E-2</c:v>
                </c:pt>
                <c:pt idx="9">
                  <c:v>2.081235533325601E-3</c:v>
                </c:pt>
                <c:pt idx="10">
                  <c:v>7.321716220502131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9.6418444064363484E-4</c:v>
                </c:pt>
                <c:pt idx="2">
                  <c:v>9.3687271063863688E-3</c:v>
                </c:pt>
                <c:pt idx="6">
                  <c:v>1.6308260003323274E-2</c:v>
                </c:pt>
                <c:pt idx="7">
                  <c:v>1.7484736811884491E-2</c:v>
                </c:pt>
                <c:pt idx="8">
                  <c:v>2.0165711032317532E-5</c:v>
                </c:pt>
                <c:pt idx="9">
                  <c:v>5.3206639734576504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8.6202884572022451E-2</c:v>
                </c:pt>
                <c:pt idx="1">
                  <c:v>7.843985068899624E-2</c:v>
                </c:pt>
                <c:pt idx="2">
                  <c:v>2.1273559470597031E-2</c:v>
                </c:pt>
                <c:pt idx="3">
                  <c:v>8.2772476771629189E-2</c:v>
                </c:pt>
                <c:pt idx="4">
                  <c:v>7.2873033921330141E-2</c:v>
                </c:pt>
                <c:pt idx="5">
                  <c:v>9.5602925591822499E-2</c:v>
                </c:pt>
                <c:pt idx="6">
                  <c:v>7.6265313837619253E-2</c:v>
                </c:pt>
                <c:pt idx="7">
                  <c:v>6.317271380918207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3">
                  <c:v>2.3150348566621928E-2</c:v>
                </c:pt>
                <c:pt idx="5">
                  <c:v>6.6744809707469779E-2</c:v>
                </c:pt>
                <c:pt idx="6">
                  <c:v>5.8943881648910977E-3</c:v>
                </c:pt>
                <c:pt idx="7">
                  <c:v>0.1135616203516677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qua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2.1400542139540296E-3</c:v>
                </c:pt>
                <c:pt idx="5">
                  <c:v>6.8279294660732216E-3</c:v>
                </c:pt>
                <c:pt idx="6">
                  <c:v>3.1778295380548548E-6</c:v>
                </c:pt>
                <c:pt idx="8">
                  <c:v>2.1113693702116718E-2</c:v>
                </c:pt>
                <c:pt idx="9">
                  <c:v>2.4129651220187291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1.3530363499567691E-2</c:v>
                </c:pt>
                <c:pt idx="5">
                  <c:v>1.8238990251736243E-2</c:v>
                </c:pt>
                <c:pt idx="6">
                  <c:v>1.5251369139174055E-2</c:v>
                </c:pt>
                <c:pt idx="7">
                  <c:v>2.1986482915396545E-2</c:v>
                </c:pt>
                <c:pt idx="8">
                  <c:v>6.1042618008517784E-2</c:v>
                </c:pt>
                <c:pt idx="9">
                  <c:v>2.0535304444780703E-3</c:v>
                </c:pt>
                <c:pt idx="10">
                  <c:v>7.320547677644298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0.38300000000000001</c:v>
                </c:pt>
                <c:pt idx="5">
                  <c:v>0.60109999999999997</c:v>
                </c:pt>
                <c:pt idx="6">
                  <c:v>1.1999999999999999E-3</c:v>
                </c:pt>
                <c:pt idx="8">
                  <c:v>5.7000000000000002E-3</c:v>
                </c:pt>
                <c:pt idx="9">
                  <c:v>8.8999999999999999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8.6202884572022451E-2</c:v>
                </c:pt>
                <c:pt idx="1">
                  <c:v>7.9404842486523478E-2</c:v>
                </c:pt>
                <c:pt idx="2">
                  <c:v>3.0844171325525634E-2</c:v>
                </c:pt>
                <c:pt idx="3">
                  <c:v>0.10592777874589783</c:v>
                </c:pt>
                <c:pt idx="4">
                  <c:v>8.8577190654092558E-2</c:v>
                </c:pt>
                <c:pt idx="5">
                  <c:v>0.18749650461514636</c:v>
                </c:pt>
                <c:pt idx="6">
                  <c:v>0.11372801478427069</c:v>
                </c:pt>
                <c:pt idx="7">
                  <c:v>0.21620803666230676</c:v>
                </c:pt>
                <c:pt idx="8">
                  <c:v>8.2207624400386509E-2</c:v>
                </c:pt>
                <c:pt idx="9">
                  <c:v>2.081235533325601E-3</c:v>
                </c:pt>
                <c:pt idx="10">
                  <c:v>7.321716220502131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4">
                  <c:v>1.5447529545301034E-4</c:v>
                </c:pt>
                <c:pt idx="5">
                  <c:v>2.4247416058846823E-4</c:v>
                </c:pt>
                <c:pt idx="6">
                  <c:v>4.9776890567430386E-7</c:v>
                </c:pt>
                <c:pt idx="7">
                  <c:v>5.1597996319897354E-8</c:v>
                </c:pt>
                <c:pt idx="8">
                  <c:v>2.2794173668378183E-6</c:v>
                </c:pt>
                <c:pt idx="9">
                  <c:v>3.5815079798516986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8.6202884572022451E-2</c:v>
                </c:pt>
                <c:pt idx="1">
                  <c:v>7.843985068899624E-2</c:v>
                </c:pt>
                <c:pt idx="2">
                  <c:v>2.1273559470597031E-2</c:v>
                </c:pt>
                <c:pt idx="3">
                  <c:v>8.2772476771629189E-2</c:v>
                </c:pt>
                <c:pt idx="4">
                  <c:v>7.2873033921330141E-2</c:v>
                </c:pt>
                <c:pt idx="5">
                  <c:v>9.5602925591822499E-2</c:v>
                </c:pt>
                <c:pt idx="6">
                  <c:v>7.6265313837619253E-2</c:v>
                </c:pt>
                <c:pt idx="7">
                  <c:v>6.317271380918207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1">
                  <c:v>9.6418444064363484E-4</c:v>
                </c:pt>
                <c:pt idx="2">
                  <c:v>9.3687271063863688E-3</c:v>
                </c:pt>
                <c:pt idx="6">
                  <c:v>1.6308260003323274E-2</c:v>
                </c:pt>
                <c:pt idx="7">
                  <c:v>1.7484736811884491E-2</c:v>
                </c:pt>
                <c:pt idx="8">
                  <c:v>2.0165711032317532E-5</c:v>
                </c:pt>
                <c:pt idx="9">
                  <c:v>5.3206639734576504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3">
                  <c:v>2.3150348566621928E-2</c:v>
                </c:pt>
                <c:pt idx="5">
                  <c:v>6.6744809707469779E-2</c:v>
                </c:pt>
                <c:pt idx="6">
                  <c:v>5.8943881648910977E-3</c:v>
                </c:pt>
                <c:pt idx="7">
                  <c:v>0.1135616203516677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1.5515942418068711E-2</c:v>
                </c:pt>
                <c:pt idx="5">
                  <c:v>2.4824445557220999E-2</c:v>
                </c:pt>
                <c:pt idx="6">
                  <c:v>1.5254049199806436E-2</c:v>
                </c:pt>
                <c:pt idx="7">
                  <c:v>2.1986431317400225E-2</c:v>
                </c:pt>
                <c:pt idx="8">
                  <c:v>8.2154032293267662E-2</c:v>
                </c:pt>
                <c:pt idx="9">
                  <c:v>2.0523619016202372E-3</c:v>
                </c:pt>
                <c:pt idx="10">
                  <c:v>7.320547677644298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8.9999999999999998E-4</c:v>
                </c:pt>
                <c:pt idx="1">
                  <c:v>5.9999999999999995E-4</c:v>
                </c:pt>
                <c:pt idx="2">
                  <c:v>1.1000000000000001E-3</c:v>
                </c:pt>
                <c:pt idx="3">
                  <c:v>1.0800000000000001E-2</c:v>
                </c:pt>
                <c:pt idx="4">
                  <c:v>0.1734</c:v>
                </c:pt>
                <c:pt idx="5">
                  <c:v>7.9600000000000004E-2</c:v>
                </c:pt>
                <c:pt idx="6">
                  <c:v>2.4400000000000002E-2</c:v>
                </c:pt>
                <c:pt idx="7">
                  <c:v>0.2767</c:v>
                </c:pt>
                <c:pt idx="8">
                  <c:v>0.42199999999999999</c:v>
                </c:pt>
                <c:pt idx="9">
                  <c:v>1.6000000000000001E-3</c:v>
                </c:pt>
                <c:pt idx="10">
                  <c:v>8.8999999999999999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8.6202884572022451E-2</c:v>
                </c:pt>
                <c:pt idx="1">
                  <c:v>7.9404842486523478E-2</c:v>
                </c:pt>
                <c:pt idx="2">
                  <c:v>3.0844171325525634E-2</c:v>
                </c:pt>
                <c:pt idx="3">
                  <c:v>0.10592777874589783</c:v>
                </c:pt>
                <c:pt idx="4">
                  <c:v>8.8577190654092558E-2</c:v>
                </c:pt>
                <c:pt idx="5">
                  <c:v>0.18749650461514639</c:v>
                </c:pt>
                <c:pt idx="6">
                  <c:v>0.11372801478427071</c:v>
                </c:pt>
                <c:pt idx="7">
                  <c:v>0.21620803666230673</c:v>
                </c:pt>
                <c:pt idx="8">
                  <c:v>8.2207624400386509E-2</c:v>
                </c:pt>
                <c:pt idx="9">
                  <c:v>2.0812355333256006E-3</c:v>
                </c:pt>
                <c:pt idx="10">
                  <c:v>7.321716220502131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4732716231452217E-2</c:v>
                </c:pt>
                <c:pt idx="3">
                  <c:v>7.0335912374879647E-3</c:v>
                </c:pt>
                <c:pt idx="4">
                  <c:v>5.9709259046065208E-2</c:v>
                </c:pt>
                <c:pt idx="5">
                  <c:v>7.9190474568841027E-2</c:v>
                </c:pt>
                <c:pt idx="6">
                  <c:v>9.0909320020370915E-2</c:v>
                </c:pt>
                <c:pt idx="7">
                  <c:v>0.18721019191229946</c:v>
                </c:pt>
                <c:pt idx="8">
                  <c:v>0.32147803441258221</c:v>
                </c:pt>
                <c:pt idx="9">
                  <c:v>0.17422590242988537</c:v>
                </c:pt>
                <c:pt idx="10">
                  <c:v>3.514405832996653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0">
                  <c:v>1.2931751340663648E-4</c:v>
                </c:pt>
                <c:pt idx="1">
                  <c:v>8.8970172798159852E-5</c:v>
                </c:pt>
                <c:pt idx="2">
                  <c:v>1.5058284889727877E-4</c:v>
                </c:pt>
                <c:pt idx="3">
                  <c:v>1.5312834000551681E-3</c:v>
                </c:pt>
                <c:pt idx="4">
                  <c:v>2.4511403542095689E-2</c:v>
                </c:pt>
                <c:pt idx="5">
                  <c:v>1.1255629561336989E-2</c:v>
                </c:pt>
                <c:pt idx="6">
                  <c:v>3.4488823824444016E-3</c:v>
                </c:pt>
                <c:pt idx="7">
                  <c:v>3.911933281103723E-2</c:v>
                </c:pt>
                <c:pt idx="8">
                  <c:v>5.9654407999439149E-2</c:v>
                </c:pt>
                <c:pt idx="9">
                  <c:v>2.2299987895797816E-4</c:v>
                </c:pt>
                <c:pt idx="10">
                  <c:v>1.252313814596633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4.460077483436313E-2</c:v>
                </c:pt>
                <c:pt idx="3">
                  <c:v>5.4451222901806175E-3</c:v>
                </c:pt>
                <c:pt idx="4">
                  <c:v>3.3473205913755258E-2</c:v>
                </c:pt>
                <c:pt idx="5">
                  <c:v>6.6811401674279236E-2</c:v>
                </c:pt>
                <c:pt idx="6">
                  <c:v>8.4363289562583973E-2</c:v>
                </c:pt>
                <c:pt idx="7">
                  <c:v>0.13340473593900848</c:v>
                </c:pt>
                <c:pt idx="8">
                  <c:v>0.16430551004581079</c:v>
                </c:pt>
                <c:pt idx="9">
                  <c:v>1.9509471402694505E-3</c:v>
                </c:pt>
                <c:pt idx="10">
                  <c:v>2.760820176628058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4">
                  <c:v>1.5827892649329803E-3</c:v>
                </c:pt>
                <c:pt idx="5">
                  <c:v>1.0227639445202319E-3</c:v>
                </c:pt>
                <c:pt idx="6">
                  <c:v>2.11352858812946E-3</c:v>
                </c:pt>
                <c:pt idx="7">
                  <c:v>1.2359522261658679E-2</c:v>
                </c:pt>
                <c:pt idx="8">
                  <c:v>7.7546789606724606E-2</c:v>
                </c:pt>
                <c:pt idx="9">
                  <c:v>9.1386037573759502E-2</c:v>
                </c:pt>
                <c:pt idx="10">
                  <c:v>7.195596078810348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6">
                  <c:v>7.8205123102439988E-4</c:v>
                </c:pt>
                <c:pt idx="7">
                  <c:v>8.5864487922655375E-4</c:v>
                </c:pt>
                <c:pt idx="8">
                  <c:v>2.0849984421797418E-3</c:v>
                </c:pt>
                <c:pt idx="9">
                  <c:v>7.1204255905643566E-3</c:v>
                </c:pt>
                <c:pt idx="10">
                  <c:v>6.593875842959616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7">
                  <c:v>1.4678847553919422E-3</c:v>
                </c:pt>
                <c:pt idx="8">
                  <c:v>1.7406153285388623E-2</c:v>
                </c:pt>
                <c:pt idx="9">
                  <c:v>7.3190723736290805E-2</c:v>
                </c:pt>
                <c:pt idx="10">
                  <c:v>2.360505365007454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9">
                  <c:v>0.77380000000000004</c:v>
                </c:pt>
                <c:pt idx="10">
                  <c:v>0.2262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4732716231452217E-2</c:v>
                </c:pt>
                <c:pt idx="3">
                  <c:v>7.0335912374879647E-3</c:v>
                </c:pt>
                <c:pt idx="4">
                  <c:v>5.9709259046065208E-2</c:v>
                </c:pt>
                <c:pt idx="5">
                  <c:v>7.9190474568841027E-2</c:v>
                </c:pt>
                <c:pt idx="6">
                  <c:v>9.0909320020370915E-2</c:v>
                </c:pt>
                <c:pt idx="7">
                  <c:v>0.18721019191229946</c:v>
                </c:pt>
                <c:pt idx="8">
                  <c:v>0.32147803441258221</c:v>
                </c:pt>
                <c:pt idx="9">
                  <c:v>0.17422590242988537</c:v>
                </c:pt>
                <c:pt idx="10">
                  <c:v>3.514405832996653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9">
                  <c:v>4.187893066818852E-2</c:v>
                </c:pt>
                <c:pt idx="10">
                  <c:v>1.224038282544990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4.460077483436313E-2</c:v>
                </c:pt>
                <c:pt idx="3">
                  <c:v>5.4451222901806175E-3</c:v>
                </c:pt>
                <c:pt idx="4">
                  <c:v>3.3473205913755258E-2</c:v>
                </c:pt>
                <c:pt idx="5">
                  <c:v>6.6811401674279236E-2</c:v>
                </c:pt>
                <c:pt idx="6">
                  <c:v>8.4363289562583973E-2</c:v>
                </c:pt>
                <c:pt idx="7">
                  <c:v>0.13340473593900848</c:v>
                </c:pt>
                <c:pt idx="8">
                  <c:v>0.16430551004581079</c:v>
                </c:pt>
                <c:pt idx="9">
                  <c:v>1.9509471402694505E-3</c:v>
                </c:pt>
                <c:pt idx="10">
                  <c:v>2.760820176628058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1.2931751340663648E-4</c:v>
                </c:pt>
                <c:pt idx="1">
                  <c:v>8.8970172798159852E-5</c:v>
                </c:pt>
                <c:pt idx="2">
                  <c:v>1.5058284889727877E-4</c:v>
                </c:pt>
                <c:pt idx="3">
                  <c:v>1.5312834000551681E-3</c:v>
                </c:pt>
                <c:pt idx="4">
                  <c:v>2.4511403542095689E-2</c:v>
                </c:pt>
                <c:pt idx="5">
                  <c:v>1.1255629561336989E-2</c:v>
                </c:pt>
                <c:pt idx="6">
                  <c:v>3.4488823824444016E-3</c:v>
                </c:pt>
                <c:pt idx="7">
                  <c:v>3.911933281103723E-2</c:v>
                </c:pt>
                <c:pt idx="8">
                  <c:v>5.9654407999439149E-2</c:v>
                </c:pt>
                <c:pt idx="9">
                  <c:v>2.2299987895797816E-4</c:v>
                </c:pt>
                <c:pt idx="10">
                  <c:v>1.252313814596633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1.5827892649329803E-3</c:v>
                </c:pt>
                <c:pt idx="5">
                  <c:v>1.0227639445202319E-3</c:v>
                </c:pt>
                <c:pt idx="6">
                  <c:v>2.11352858812946E-3</c:v>
                </c:pt>
                <c:pt idx="7">
                  <c:v>1.2359522261658679E-2</c:v>
                </c:pt>
                <c:pt idx="8">
                  <c:v>7.7546789606724606E-2</c:v>
                </c:pt>
                <c:pt idx="9">
                  <c:v>9.1386037573759502E-2</c:v>
                </c:pt>
                <c:pt idx="10">
                  <c:v>7.195596078810348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6">
                  <c:v>7.8205123102439988E-4</c:v>
                </c:pt>
                <c:pt idx="7">
                  <c:v>2.3265296346184961E-3</c:v>
                </c:pt>
                <c:pt idx="8">
                  <c:v>1.9491151727568365E-2</c:v>
                </c:pt>
                <c:pt idx="9">
                  <c:v>3.8432218658666646E-2</c:v>
                </c:pt>
                <c:pt idx="10">
                  <c:v>1.795854666758425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2200000000000001E-2</c:v>
                </c:pt>
                <c:pt idx="3">
                  <c:v>0.2107</c:v>
                </c:pt>
                <c:pt idx="4">
                  <c:v>0.7670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52375780573987507</c:v>
                </c:pt>
                <c:pt idx="2">
                  <c:v>4.9652348560346414E-2</c:v>
                </c:pt>
                <c:pt idx="3">
                  <c:v>0.11171770491076902</c:v>
                </c:pt>
                <c:pt idx="4">
                  <c:v>0.30985918801070861</c:v>
                </c:pt>
                <c:pt idx="5">
                  <c:v>4.966485412198864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4.1642885468543722E-5</c:v>
                </c:pt>
                <c:pt idx="2">
                  <c:v>8.2898860286278325E-3</c:v>
                </c:pt>
                <c:pt idx="3">
                  <c:v>7.88345210125493E-2</c:v>
                </c:pt>
                <c:pt idx="4">
                  <c:v>0.2869837543867066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52375780573987507</c:v>
                </c:pt>
                <c:pt idx="2">
                  <c:v>4.1362462531718582E-2</c:v>
                </c:pt>
                <c:pt idx="3">
                  <c:v>3.2883183898219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4">
                  <c:v>2.0792083230416369E-2</c:v>
                </c:pt>
                <c:pt idx="5">
                  <c:v>4.966485412198864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2.083350393585573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9">
                  <c:v>0.77380000000000004</c:v>
                </c:pt>
                <c:pt idx="10">
                  <c:v>0.226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6.0648360984531184E-2</c:v>
                </c:pt>
                <c:pt idx="5">
                  <c:v>8.7033084428397731E-2</c:v>
                </c:pt>
                <c:pt idx="6">
                  <c:v>0.11859783872996039</c:v>
                </c:pt>
                <c:pt idx="7">
                  <c:v>0.20817258551718709</c:v>
                </c:pt>
                <c:pt idx="8">
                  <c:v>0.26931744552928538</c:v>
                </c:pt>
                <c:pt idx="9">
                  <c:v>0.22134655174709394</c:v>
                </c:pt>
                <c:pt idx="10">
                  <c:v>3.488357674826126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9.6418444064363484E-4</c:v>
                </c:pt>
                <c:pt idx="2">
                  <c:v>9.3687271063863688E-3</c:v>
                </c:pt>
                <c:pt idx="6">
                  <c:v>1.6308757772228951E-2</c:v>
                </c:pt>
                <c:pt idx="7">
                  <c:v>1.748487642999218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8.6202884572022451E-2</c:v>
                </c:pt>
                <c:pt idx="1">
                  <c:v>7.843985068899624E-2</c:v>
                </c:pt>
                <c:pt idx="2">
                  <c:v>2.1273559470597031E-2</c:v>
                </c:pt>
                <c:pt idx="3">
                  <c:v>8.2772476771629189E-2</c:v>
                </c:pt>
                <c:pt idx="4">
                  <c:v>7.2873033921330141E-2</c:v>
                </c:pt>
                <c:pt idx="5">
                  <c:v>9.5602925591822499E-2</c:v>
                </c:pt>
                <c:pt idx="6">
                  <c:v>7.6265313837619253E-2</c:v>
                </c:pt>
                <c:pt idx="7">
                  <c:v>6.317271380918207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3">
                  <c:v>2.3150348566621928E-2</c:v>
                </c:pt>
                <c:pt idx="5">
                  <c:v>6.6744809707469779E-2</c:v>
                </c:pt>
                <c:pt idx="6">
                  <c:v>5.8943881648910977E-3</c:v>
                </c:pt>
                <c:pt idx="7">
                  <c:v>0.1135616203516677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2.1400542139540296E-3</c:v>
                </c:pt>
                <c:pt idx="5">
                  <c:v>6.8279294660732216E-3</c:v>
                </c:pt>
                <c:pt idx="8">
                  <c:v>2.111370887799798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1.3375888204114681E-2</c:v>
                </c:pt>
                <c:pt idx="5">
                  <c:v>1.7996516091147774E-2</c:v>
                </c:pt>
                <c:pt idx="6">
                  <c:v>1.5251429842699138E-2</c:v>
                </c:pt>
                <c:pt idx="7">
                  <c:v>2.1986431317400225E-2</c:v>
                </c:pt>
                <c:pt idx="8">
                  <c:v>6.1040338591150947E-2</c:v>
                </c:pt>
                <c:pt idx="9">
                  <c:v>2.0509505446620752E-3</c:v>
                </c:pt>
                <c:pt idx="10">
                  <c:v>7.320547677644298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9">
                  <c:v>0.11861726031462003</c:v>
                </c:pt>
                <c:pt idx="10">
                  <c:v>3.466475940359194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4">
                  <c:v>6.0648360984531184E-2</c:v>
                </c:pt>
                <c:pt idx="5">
                  <c:v>6.5607528493572514E-2</c:v>
                </c:pt>
                <c:pt idx="6">
                  <c:v>0.11627734260255143</c:v>
                </c:pt>
                <c:pt idx="7">
                  <c:v>0.14378466701866177</c:v>
                </c:pt>
                <c:pt idx="8">
                  <c:v>0.1543139289367555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5">
                  <c:v>2.1425555934825216E-2</c:v>
                </c:pt>
                <c:pt idx="7">
                  <c:v>3.7760381977446904E-2</c:v>
                </c:pt>
                <c:pt idx="8">
                  <c:v>5.88913442447694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6">
                  <c:v>2.320496127408958E-3</c:v>
                </c:pt>
                <c:pt idx="7">
                  <c:v>2.662753652107842E-2</c:v>
                </c:pt>
                <c:pt idx="8">
                  <c:v>5.4383731669705032E-2</c:v>
                </c:pt>
                <c:pt idx="9">
                  <c:v>0.1011799224627538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8">
                  <c:v>1.7281130701664519E-3</c:v>
                </c:pt>
                <c:pt idx="9">
                  <c:v>1.542260496658751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18140000000000001</c:v>
                </c:pt>
                <c:pt idx="7">
                  <c:v>0.31979999999999997</c:v>
                </c:pt>
                <c:pt idx="8">
                  <c:v>0.4986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6.0648360984531184E-2</c:v>
                </c:pt>
                <c:pt idx="5">
                  <c:v>8.7033084428397731E-2</c:v>
                </c:pt>
                <c:pt idx="6">
                  <c:v>0.11859783872996039</c:v>
                </c:pt>
                <c:pt idx="7">
                  <c:v>0.20817258551718709</c:v>
                </c:pt>
                <c:pt idx="8">
                  <c:v>0.26931744552928538</c:v>
                </c:pt>
                <c:pt idx="9">
                  <c:v>0.22134655174709394</c:v>
                </c:pt>
                <c:pt idx="10">
                  <c:v>3.488357674826126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5">
                  <c:v>2.1425555934825216E-2</c:v>
                </c:pt>
                <c:pt idx="7">
                  <c:v>3.7760381977446904E-2</c:v>
                </c:pt>
                <c:pt idx="8">
                  <c:v>5.889134424476942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4">
                  <c:v>6.0648360984531184E-2</c:v>
                </c:pt>
                <c:pt idx="5">
                  <c:v>6.5607528493572514E-2</c:v>
                </c:pt>
                <c:pt idx="6">
                  <c:v>0.11627734260255143</c:v>
                </c:pt>
                <c:pt idx="7">
                  <c:v>0.14378466701866177</c:v>
                </c:pt>
                <c:pt idx="8">
                  <c:v>0.1543139289367555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6">
                  <c:v>2.320496127408958E-3</c:v>
                </c:pt>
                <c:pt idx="7">
                  <c:v>2.662753652107842E-2</c:v>
                </c:pt>
                <c:pt idx="8">
                  <c:v>5.4383731669705032E-2</c:v>
                </c:pt>
                <c:pt idx="9">
                  <c:v>0.1011799224627538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8">
                  <c:v>1.7281130701664519E-3</c:v>
                </c:pt>
                <c:pt idx="9">
                  <c:v>1.542260496658751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9">
                  <c:v>0.11861726031462003</c:v>
                </c:pt>
                <c:pt idx="10">
                  <c:v>3.466475940359194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3799999999999996E-2</c:v>
                </c:pt>
                <c:pt idx="1">
                  <c:v>2.5899999999999999E-2</c:v>
                </c:pt>
                <c:pt idx="3">
                  <c:v>4.4000000000000003E-3</c:v>
                </c:pt>
                <c:pt idx="4">
                  <c:v>5.1000000000000004E-3</c:v>
                </c:pt>
                <c:pt idx="5">
                  <c:v>3.2000000000000002E-3</c:v>
                </c:pt>
                <c:pt idx="6">
                  <c:v>0.13370000000000001</c:v>
                </c:pt>
                <c:pt idx="7">
                  <c:v>0.75629999999999997</c:v>
                </c:pt>
                <c:pt idx="8">
                  <c:v>8.0000000000000004E-4</c:v>
                </c:pt>
                <c:pt idx="9">
                  <c:v>6.7999999999999996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8717045455548876E-2</c:v>
                </c:pt>
                <c:pt idx="1">
                  <c:v>2.7364022125522948E-2</c:v>
                </c:pt>
                <c:pt idx="2">
                  <c:v>3.486826982405361E-2</c:v>
                </c:pt>
                <c:pt idx="3">
                  <c:v>0.11256659499454112</c:v>
                </c:pt>
                <c:pt idx="4">
                  <c:v>0.12547544687545586</c:v>
                </c:pt>
                <c:pt idx="5">
                  <c:v>0.13562965800906482</c:v>
                </c:pt>
                <c:pt idx="6">
                  <c:v>0.21864674065138529</c:v>
                </c:pt>
                <c:pt idx="7">
                  <c:v>0.24517111729329152</c:v>
                </c:pt>
                <c:pt idx="8">
                  <c:v>1.9962655782932107E-2</c:v>
                </c:pt>
                <c:pt idx="9">
                  <c:v>1.571641347349754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0">
                  <c:v>3.9132031687074496E-3</c:v>
                </c:pt>
                <c:pt idx="1">
                  <c:v>1.5891489278941659E-3</c:v>
                </c:pt>
                <c:pt idx="2">
                  <c:v>4.2115174946122434E-6</c:v>
                </c:pt>
                <c:pt idx="3">
                  <c:v>2.6757653404113168E-4</c:v>
                </c:pt>
                <c:pt idx="4">
                  <c:v>3.1539686346112114E-4</c:v>
                </c:pt>
                <c:pt idx="5">
                  <c:v>1.9875249583671141E-4</c:v>
                </c:pt>
                <c:pt idx="6">
                  <c:v>8.2012403742168262E-3</c:v>
                </c:pt>
                <c:pt idx="7">
                  <c:v>4.6404669869485313E-2</c:v>
                </c:pt>
                <c:pt idx="8">
                  <c:v>4.6709829782106649E-5</c:v>
                </c:pt>
                <c:pt idx="9">
                  <c:v>4.201340408982050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7.1197538115093884E-2</c:v>
                </c:pt>
                <c:pt idx="1">
                  <c:v>2.5774355363565832E-2</c:v>
                </c:pt>
                <c:pt idx="2">
                  <c:v>2.8702653110848471E-2</c:v>
                </c:pt>
                <c:pt idx="3">
                  <c:v>0.11165981067836996</c:v>
                </c:pt>
                <c:pt idx="4">
                  <c:v>8.6688981124215053E-2</c:v>
                </c:pt>
                <c:pt idx="5">
                  <c:v>7.3297337280785385E-2</c:v>
                </c:pt>
                <c:pt idx="6">
                  <c:v>0.18286807963228274</c:v>
                </c:pt>
                <c:pt idx="7">
                  <c:v>7.16843380533908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3.462439093322842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2">
                  <c:v>6.0804794053876086E-3</c:v>
                </c:pt>
                <c:pt idx="4">
                  <c:v>1.7751447462194783E-2</c:v>
                </c:pt>
                <c:pt idx="5">
                  <c:v>6.0155271496133811E-2</c:v>
                </c:pt>
                <c:pt idx="6">
                  <c:v>2.5955022579585596E-2</c:v>
                </c:pt>
                <c:pt idx="7">
                  <c:v>8.601686244311326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2">
                  <c:v>2.4296295311846184E-5</c:v>
                </c:pt>
                <c:pt idx="3">
                  <c:v>1.7330978176122877E-6</c:v>
                </c:pt>
                <c:pt idx="4">
                  <c:v>2.0496695358116004E-2</c:v>
                </c:pt>
                <c:pt idx="5">
                  <c:v>1.9398123863243856E-3</c:v>
                </c:pt>
                <c:pt idx="6">
                  <c:v>1.1753695789938727E-3</c:v>
                </c:pt>
                <c:pt idx="7">
                  <c:v>4.0386106057115512E-2</c:v>
                </c:pt>
                <c:pt idx="8">
                  <c:v>1.9309451514800079E-2</c:v>
                </c:pt>
                <c:pt idx="9">
                  <c:v>7.704742271966419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8">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8717045455548876E-2</c:v>
                </c:pt>
                <c:pt idx="1">
                  <c:v>2.7364022125522948E-2</c:v>
                </c:pt>
                <c:pt idx="2">
                  <c:v>3.486826982405361E-2</c:v>
                </c:pt>
                <c:pt idx="3">
                  <c:v>0.11256659499454112</c:v>
                </c:pt>
                <c:pt idx="4">
                  <c:v>0.12547544687545586</c:v>
                </c:pt>
                <c:pt idx="5">
                  <c:v>0.13562965800906482</c:v>
                </c:pt>
                <c:pt idx="6">
                  <c:v>0.21864674065138529</c:v>
                </c:pt>
                <c:pt idx="7">
                  <c:v>0.24517111729329152</c:v>
                </c:pt>
                <c:pt idx="8">
                  <c:v>1.9962655782932107E-2</c:v>
                </c:pt>
                <c:pt idx="9">
                  <c:v>1.571641347349754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8">
                  <c:v>7.183935901362249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7.1197538115093884E-2</c:v>
                </c:pt>
                <c:pt idx="1">
                  <c:v>2.5774355363565832E-2</c:v>
                </c:pt>
                <c:pt idx="2">
                  <c:v>2.8702653110848471E-2</c:v>
                </c:pt>
                <c:pt idx="3">
                  <c:v>0.11165981067836996</c:v>
                </c:pt>
                <c:pt idx="4">
                  <c:v>8.6688981124215053E-2</c:v>
                </c:pt>
                <c:pt idx="5">
                  <c:v>7.3297337280785385E-2</c:v>
                </c:pt>
                <c:pt idx="6">
                  <c:v>0.18286807963228274</c:v>
                </c:pt>
                <c:pt idx="7">
                  <c:v>7.16843380533908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3.462439093322842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0">
                  <c:v>3.9132031687074496E-3</c:v>
                </c:pt>
                <c:pt idx="1">
                  <c:v>1.5891489278941659E-3</c:v>
                </c:pt>
                <c:pt idx="2">
                  <c:v>4.2115174946122434E-6</c:v>
                </c:pt>
                <c:pt idx="3">
                  <c:v>2.6757653404113168E-4</c:v>
                </c:pt>
                <c:pt idx="4">
                  <c:v>3.1539686346112114E-4</c:v>
                </c:pt>
                <c:pt idx="5">
                  <c:v>1.9875249583671141E-4</c:v>
                </c:pt>
                <c:pt idx="6">
                  <c:v>8.2012403742168262E-3</c:v>
                </c:pt>
                <c:pt idx="7">
                  <c:v>4.6404669869485313E-2</c:v>
                </c:pt>
                <c:pt idx="8">
                  <c:v>4.6709829782106649E-5</c:v>
                </c:pt>
                <c:pt idx="9">
                  <c:v>4.201340408982050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2">
                  <c:v>6.1047757006994548E-3</c:v>
                </c:pt>
                <c:pt idx="3">
                  <c:v>1.7330978176122877E-6</c:v>
                </c:pt>
                <c:pt idx="4">
                  <c:v>3.8248142820310783E-2</c:v>
                </c:pt>
                <c:pt idx="5">
                  <c:v>6.2095083882458199E-2</c:v>
                </c:pt>
                <c:pt idx="6">
                  <c:v>2.7130392158579469E-2</c:v>
                </c:pt>
                <c:pt idx="7">
                  <c:v>0.12640296850022878</c:v>
                </c:pt>
                <c:pt idx="8">
                  <c:v>1.212551561343783E-2</c:v>
                </c:pt>
                <c:pt idx="9">
                  <c:v>7.704742271966419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1.0800000000000001E-2</c:v>
                </c:pt>
                <c:pt idx="4">
                  <c:v>0.1734</c:v>
                </c:pt>
                <c:pt idx="5">
                  <c:v>7.9600000000000004E-2</c:v>
                </c:pt>
                <c:pt idx="6">
                  <c:v>2.4400000000000002E-2</c:v>
                </c:pt>
                <c:pt idx="7">
                  <c:v>0.2767</c:v>
                </c:pt>
                <c:pt idx="8">
                  <c:v>0.42199999999999999</c:v>
                </c:pt>
                <c:pt idx="10">
                  <c:v>8.8999999999999999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1.1599999999999999E-2</c:v>
                </c:pt>
                <c:pt idx="3">
                  <c:v>8.0000000000000004E-4</c:v>
                </c:pt>
                <c:pt idx="5">
                  <c:v>0.92449999999999999</c:v>
                </c:pt>
                <c:pt idx="7">
                  <c:v>6.0400000000000002E-2</c:v>
                </c:pt>
                <c:pt idx="8">
                  <c:v>2.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8717045455548876E-2</c:v>
                </c:pt>
                <c:pt idx="1">
                  <c:v>2.7364022125522948E-2</c:v>
                </c:pt>
                <c:pt idx="2">
                  <c:v>3.486826982405361E-2</c:v>
                </c:pt>
                <c:pt idx="3">
                  <c:v>0.11256659499454112</c:v>
                </c:pt>
                <c:pt idx="4">
                  <c:v>0.12547544687545586</c:v>
                </c:pt>
                <c:pt idx="5">
                  <c:v>0.13562965800906482</c:v>
                </c:pt>
                <c:pt idx="6">
                  <c:v>0.21864674065138529</c:v>
                </c:pt>
                <c:pt idx="7">
                  <c:v>0.24517111729329152</c:v>
                </c:pt>
                <c:pt idx="8">
                  <c:v>1.9962655782932107E-2</c:v>
                </c:pt>
                <c:pt idx="9">
                  <c:v>1.571641347349754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2.4296295311846184E-5</c:v>
                </c:pt>
                <c:pt idx="3">
                  <c:v>1.7330978176122877E-6</c:v>
                </c:pt>
                <c:pt idx="5">
                  <c:v>1.9398123863243856E-3</c:v>
                </c:pt>
                <c:pt idx="7">
                  <c:v>1.2682743977556173E-4</c:v>
                </c:pt>
                <c:pt idx="8">
                  <c:v>4.7383313389987077E-6</c:v>
                </c:pt>
                <c:pt idx="9">
                  <c:v>7.7226120370288475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7.1197538115093884E-2</c:v>
                </c:pt>
                <c:pt idx="1">
                  <c:v>2.5774355363565832E-2</c:v>
                </c:pt>
                <c:pt idx="2">
                  <c:v>2.8702653110848471E-2</c:v>
                </c:pt>
                <c:pt idx="3">
                  <c:v>0.11165981067836996</c:v>
                </c:pt>
                <c:pt idx="4">
                  <c:v>8.6688981124215053E-2</c:v>
                </c:pt>
                <c:pt idx="5">
                  <c:v>7.3297337280785385E-2</c:v>
                </c:pt>
                <c:pt idx="6">
                  <c:v>0.18286807963228274</c:v>
                </c:pt>
                <c:pt idx="7">
                  <c:v>7.16843380533908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3.462439093322842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0">
                  <c:v>3.9132031687074496E-3</c:v>
                </c:pt>
                <c:pt idx="1">
                  <c:v>1.5891489278941659E-3</c:v>
                </c:pt>
                <c:pt idx="2">
                  <c:v>4.2115174946122434E-6</c:v>
                </c:pt>
                <c:pt idx="3">
                  <c:v>2.6757653404113168E-4</c:v>
                </c:pt>
                <c:pt idx="4">
                  <c:v>3.1539686346112114E-4</c:v>
                </c:pt>
                <c:pt idx="5">
                  <c:v>1.9875249583671141E-4</c:v>
                </c:pt>
                <c:pt idx="6">
                  <c:v>8.2012403742168262E-3</c:v>
                </c:pt>
                <c:pt idx="7">
                  <c:v>4.6404669869485313E-2</c:v>
                </c:pt>
                <c:pt idx="8">
                  <c:v>4.6709829782106649E-5</c:v>
                </c:pt>
                <c:pt idx="9">
                  <c:v>4.201340408982050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2">
                  <c:v>6.0804794053876086E-3</c:v>
                </c:pt>
                <c:pt idx="4">
                  <c:v>3.8248142820310783E-2</c:v>
                </c:pt>
                <c:pt idx="5">
                  <c:v>6.0155271496133811E-2</c:v>
                </c:pt>
                <c:pt idx="6">
                  <c:v>2.7130392158579469E-2</c:v>
                </c:pt>
                <c:pt idx="7">
                  <c:v>0.12627614106045321</c:v>
                </c:pt>
                <c:pt idx="8">
                  <c:v>1.9304713183461081E-2</c:v>
                </c:pt>
                <c:pt idx="9">
                  <c:v>7.697019659929390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4582</c:v>
                </c:pt>
                <c:pt idx="7">
                  <c:v>0.4849</c:v>
                </c:pt>
                <c:pt idx="8">
                  <c:v>5.68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8864253460824133</c:v>
                </c:pt>
                <c:pt idx="2">
                  <c:v>0.11178101794855341</c:v>
                </c:pt>
                <c:pt idx="4">
                  <c:v>1.76444827899944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7.5590047913607082E-6</c:v>
                </c:pt>
                <c:pt idx="7">
                  <c:v>8.0004065310022105E-6</c:v>
                </c:pt>
                <c:pt idx="8">
                  <c:v>9.3797869673819013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886425346082413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2">
                  <c:v>0.1117734589437620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1.76444827899944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0.9996000000000000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8078629530597322E-3</c:v>
                </c:pt>
                <c:pt idx="1">
                  <c:v>8.711526173735662E-2</c:v>
                </c:pt>
                <c:pt idx="2">
                  <c:v>1.5522122894181553E-2</c:v>
                </c:pt>
                <c:pt idx="3">
                  <c:v>0.16117247652052566</c:v>
                </c:pt>
                <c:pt idx="4">
                  <c:v>7.9212417385756032E-2</c:v>
                </c:pt>
                <c:pt idx="5">
                  <c:v>0.17668604946353006</c:v>
                </c:pt>
                <c:pt idx="6">
                  <c:v>0.1995018531315009</c:v>
                </c:pt>
                <c:pt idx="7">
                  <c:v>0.21909638773376211</c:v>
                </c:pt>
                <c:pt idx="8">
                  <c:v>5.783333261250854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7">
                  <c:v>5.1410729223791272E-2</c:v>
                </c:pt>
                <c:pt idx="8">
                  <c:v>1.0049145591839615E-5</c:v>
                </c:pt>
                <c:pt idx="9">
                  <c:v>7.1779611370282956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3.8078629530597322E-3</c:v>
                </c:pt>
                <c:pt idx="1">
                  <c:v>8.711526173735662E-2</c:v>
                </c:pt>
                <c:pt idx="2">
                  <c:v>1.5522122894181553E-2</c:v>
                </c:pt>
                <c:pt idx="3">
                  <c:v>0.16117119539075311</c:v>
                </c:pt>
                <c:pt idx="4">
                  <c:v>7.8649147329087926E-2</c:v>
                </c:pt>
                <c:pt idx="5">
                  <c:v>6.7327067560823767E-2</c:v>
                </c:pt>
                <c:pt idx="6">
                  <c:v>0.18184530443405011</c:v>
                </c:pt>
                <c:pt idx="7">
                  <c:v>5.294841204782433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remo</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4">
                  <c:v>4.6243333173298114E-4</c:v>
                </c:pt>
                <c:pt idx="5">
                  <c:v>3.4844912608232294E-4</c:v>
                </c:pt>
                <c:pt idx="6">
                  <c:v>1.4901083879400513E-6</c:v>
                </c:pt>
                <c:pt idx="7">
                  <c:v>1.5446245484744434E-7</c:v>
                </c:pt>
                <c:pt idx="8">
                  <c:v>2.816668294276926E-7</c:v>
                </c:pt>
                <c:pt idx="9">
                  <c:v>2.1443023143527567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Van Der Hage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5">
                  <c:v>2.97784168848615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5">
                  <c:v>7.9229644492484888E-2</c:v>
                </c:pt>
                <c:pt idx="6">
                  <c:v>1.7645291110300478E-2</c:v>
                </c:pt>
                <c:pt idx="7">
                  <c:v>0.11473477506286894</c:v>
                </c:pt>
                <c:pt idx="8">
                  <c:v>5.773260491989450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8">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4732716231452217E-2</c:v>
                </c:pt>
                <c:pt idx="3">
                  <c:v>7.0335912374879647E-3</c:v>
                </c:pt>
                <c:pt idx="4">
                  <c:v>5.9709259046065208E-2</c:v>
                </c:pt>
                <c:pt idx="5">
                  <c:v>7.9190474568841027E-2</c:v>
                </c:pt>
                <c:pt idx="6">
                  <c:v>9.0909320020370929E-2</c:v>
                </c:pt>
                <c:pt idx="7">
                  <c:v>0.18721019191229946</c:v>
                </c:pt>
                <c:pt idx="8">
                  <c:v>0.32147803441258216</c:v>
                </c:pt>
                <c:pt idx="9">
                  <c:v>0.17422590242988539</c:v>
                </c:pt>
                <c:pt idx="10">
                  <c:v>3.514405832996653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8078629530597322E-3</c:v>
                </c:pt>
                <c:pt idx="1">
                  <c:v>8.711526173735662E-2</c:v>
                </c:pt>
                <c:pt idx="2">
                  <c:v>1.5522122894181553E-2</c:v>
                </c:pt>
                <c:pt idx="3">
                  <c:v>0.16117247652052566</c:v>
                </c:pt>
                <c:pt idx="4">
                  <c:v>7.9212417385756032E-2</c:v>
                </c:pt>
                <c:pt idx="5">
                  <c:v>0.17668604946353006</c:v>
                </c:pt>
                <c:pt idx="6">
                  <c:v>0.1995018531315009</c:v>
                </c:pt>
                <c:pt idx="7">
                  <c:v>0.21909638773376211</c:v>
                </c:pt>
                <c:pt idx="8">
                  <c:v>5.783333261250854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8">
                  <c:v>2.15734984877398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3.8078629530597322E-3</c:v>
                </c:pt>
                <c:pt idx="1">
                  <c:v>8.711526173735662E-2</c:v>
                </c:pt>
                <c:pt idx="2">
                  <c:v>1.5522122894181553E-2</c:v>
                </c:pt>
                <c:pt idx="3">
                  <c:v>0.16117119539075311</c:v>
                </c:pt>
                <c:pt idx="4">
                  <c:v>7.8649147329087926E-2</c:v>
                </c:pt>
                <c:pt idx="5">
                  <c:v>6.7327067560823767E-2</c:v>
                </c:pt>
                <c:pt idx="6">
                  <c:v>0.18184530443405011</c:v>
                </c:pt>
                <c:pt idx="7">
                  <c:v>5.294841204782433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remo</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4">
                  <c:v>4.6243333173298114E-4</c:v>
                </c:pt>
                <c:pt idx="5">
                  <c:v>3.4844912608232294E-4</c:v>
                </c:pt>
                <c:pt idx="6">
                  <c:v>1.4901083879400513E-6</c:v>
                </c:pt>
                <c:pt idx="7">
                  <c:v>1.5446245484744434E-7</c:v>
                </c:pt>
                <c:pt idx="8">
                  <c:v>2.816668294276926E-7</c:v>
                </c:pt>
                <c:pt idx="9">
                  <c:v>2.1443023143527567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Van Der Hage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5">
                  <c:v>2.97784168848615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5">
                  <c:v>7.9229644492484888E-2</c:v>
                </c:pt>
                <c:pt idx="6">
                  <c:v>1.7645291110300478E-2</c:v>
                </c:pt>
                <c:pt idx="7">
                  <c:v>0.16614550428666022</c:v>
                </c:pt>
                <c:pt idx="8">
                  <c:v>3.6169155577746463E-2</c:v>
                </c:pt>
                <c:pt idx="9">
                  <c:v>7.1779611370282956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0.56740000000000002</c:v>
                </c:pt>
                <c:pt idx="5">
                  <c:v>0.42759999999999998</c:v>
                </c:pt>
                <c:pt idx="6">
                  <c:v>1.8E-3</c:v>
                </c:pt>
                <c:pt idx="9">
                  <c:v>2.5999999999999999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8078629530597322E-3</c:v>
                </c:pt>
                <c:pt idx="1">
                  <c:v>8.711526173735662E-2</c:v>
                </c:pt>
                <c:pt idx="2">
                  <c:v>1.5522122894181553E-2</c:v>
                </c:pt>
                <c:pt idx="3">
                  <c:v>0.16117247652052566</c:v>
                </c:pt>
                <c:pt idx="4">
                  <c:v>7.9212417385756032E-2</c:v>
                </c:pt>
                <c:pt idx="5">
                  <c:v>0.17668604946353006</c:v>
                </c:pt>
                <c:pt idx="6">
                  <c:v>0.1995018531315009</c:v>
                </c:pt>
                <c:pt idx="7">
                  <c:v>0.21909638773376211</c:v>
                </c:pt>
                <c:pt idx="8">
                  <c:v>5.783333261250854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4">
                  <c:v>4.6243333173298114E-4</c:v>
                </c:pt>
                <c:pt idx="5">
                  <c:v>3.4844912608232294E-4</c:v>
                </c:pt>
                <c:pt idx="6">
                  <c:v>1.4901083879400513E-6</c:v>
                </c:pt>
                <c:pt idx="7">
                  <c:v>1.5446245484744434E-7</c:v>
                </c:pt>
                <c:pt idx="8">
                  <c:v>2.816668294276926E-7</c:v>
                </c:pt>
                <c:pt idx="9">
                  <c:v>2.1443023143527567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3.8078629530597322E-3</c:v>
                </c:pt>
                <c:pt idx="1">
                  <c:v>8.711526173735662E-2</c:v>
                </c:pt>
                <c:pt idx="2">
                  <c:v>1.5522122894181553E-2</c:v>
                </c:pt>
                <c:pt idx="3">
                  <c:v>0.16117119539075311</c:v>
                </c:pt>
                <c:pt idx="4">
                  <c:v>7.8649147329087926E-2</c:v>
                </c:pt>
                <c:pt idx="5">
                  <c:v>6.7327067560823767E-2</c:v>
                </c:pt>
                <c:pt idx="6">
                  <c:v>0.18184530443405011</c:v>
                </c:pt>
                <c:pt idx="7">
                  <c:v>5.294841204782433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n Der Hage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5">
                  <c:v>2.97784168848615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5">
                  <c:v>7.9229644492484888E-2</c:v>
                </c:pt>
                <c:pt idx="6">
                  <c:v>1.7645291110300478E-2</c:v>
                </c:pt>
                <c:pt idx="7">
                  <c:v>0.1053179805891212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7">
                  <c:v>6.0827523697538959E-2</c:v>
                </c:pt>
                <c:pt idx="8">
                  <c:v>5.7742654065486343E-2</c:v>
                </c:pt>
                <c:pt idx="9">
                  <c:v>7.1779611370282956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3200000000000001E-2</c:v>
                </c:pt>
                <c:pt idx="1">
                  <c:v>3.2500000000000001E-2</c:v>
                </c:pt>
                <c:pt idx="2">
                  <c:v>0.255</c:v>
                </c:pt>
                <c:pt idx="3">
                  <c:v>2.6700000000000002E-2</c:v>
                </c:pt>
                <c:pt idx="4">
                  <c:v>1.3299999999999999E-2</c:v>
                </c:pt>
                <c:pt idx="5">
                  <c:v>0.49030000000000001</c:v>
                </c:pt>
                <c:pt idx="6">
                  <c:v>9.8199999999999996E-2</c:v>
                </c:pt>
                <c:pt idx="7">
                  <c:v>6.8999999999999999E-3</c:v>
                </c:pt>
                <c:pt idx="8">
                  <c:v>8.0000000000000004E-4</c:v>
                </c:pt>
                <c:pt idx="9">
                  <c:v>3.2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38884991678725317</c:v>
                </c:pt>
                <c:pt idx="1">
                  <c:v>1.6720302811374405E-2</c:v>
                </c:pt>
                <c:pt idx="2">
                  <c:v>6.3513169623176297E-2</c:v>
                </c:pt>
                <c:pt idx="3">
                  <c:v>9.3178130587054195E-2</c:v>
                </c:pt>
                <c:pt idx="4">
                  <c:v>0.12295245418285258</c:v>
                </c:pt>
                <c:pt idx="5">
                  <c:v>9.4261497962098456E-2</c:v>
                </c:pt>
                <c:pt idx="6">
                  <c:v>8.2065990268195041E-2</c:v>
                </c:pt>
                <c:pt idx="7">
                  <c:v>0.11611454147200324</c:v>
                </c:pt>
                <c:pt idx="8">
                  <c:v>1.3036568854015471E-2</c:v>
                </c:pt>
                <c:pt idx="9">
                  <c:v>5.0436397346530102E-3</c:v>
                </c:pt>
                <c:pt idx="10">
                  <c:v>4.263787717324140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0">
                  <c:v>3.0591427436048066E-3</c:v>
                </c:pt>
                <c:pt idx="1">
                  <c:v>1.3589634077937499E-3</c:v>
                </c:pt>
                <c:pt idx="2">
                  <c:v>1.0662046695607332E-2</c:v>
                </c:pt>
                <c:pt idx="3">
                  <c:v>1.1143902948008429E-3</c:v>
                </c:pt>
                <c:pt idx="4">
                  <c:v>5.5425947098465371E-4</c:v>
                </c:pt>
                <c:pt idx="5">
                  <c:v>2.0497041834826365E-2</c:v>
                </c:pt>
                <c:pt idx="6">
                  <c:v>4.106417801058187E-3</c:v>
                </c:pt>
                <c:pt idx="7">
                  <c:v>2.8676260467808926E-4</c:v>
                </c:pt>
                <c:pt idx="8">
                  <c:v>3.3078472276483062E-5</c:v>
                </c:pt>
                <c:pt idx="9">
                  <c:v>1.3305938878745114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38408398509318525</c:v>
                </c:pt>
                <c:pt idx="1">
                  <c:v>1.499358079175688E-2</c:v>
                </c:pt>
                <c:pt idx="2">
                  <c:v>2.7430950295927979E-2</c:v>
                </c:pt>
                <c:pt idx="3">
                  <c:v>9.2022166018751933E-2</c:v>
                </c:pt>
                <c:pt idx="4">
                  <c:v>0.1211874598019153</c:v>
                </c:pt>
                <c:pt idx="5">
                  <c:v>1.4701624298035509E-2</c:v>
                </c:pt>
                <c:pt idx="6">
                  <c:v>7.3463827228517742E-2</c:v>
                </c:pt>
                <c:pt idx="8">
                  <c:v>9.34587352196057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1.4461477860821408E-3</c:v>
                </c:pt>
                <c:pt idx="7">
                  <c:v>7.961922122900063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2">
                  <c:v>2.5417639380296023E-2</c:v>
                </c:pt>
                <c:pt idx="5">
                  <c:v>4.9580472515097965E-2</c:v>
                </c:pt>
                <c:pt idx="7">
                  <c:v>9.42646855160765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1.0353933848593858E-3</c:v>
                </c:pt>
                <c:pt idx="5">
                  <c:v>9.3583240904280343E-3</c:v>
                </c:pt>
                <c:pt idx="6">
                  <c:v>4.3316035796150112E-3</c:v>
                </c:pt>
                <c:pt idx="7">
                  <c:v>2.0190645808438681E-2</c:v>
                </c:pt>
                <c:pt idx="8">
                  <c:v>1.2061116538694603E-2</c:v>
                </c:pt>
                <c:pt idx="9">
                  <c:v>4.4203918678978153E-3</c:v>
                </c:pt>
                <c:pt idx="10">
                  <c:v>3.874956797026830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9.3899999999999997E-2</c:v>
                </c:pt>
                <c:pt idx="5">
                  <c:v>0.29809999999999998</c:v>
                </c:pt>
                <c:pt idx="8">
                  <c:v>0.6078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38884991678725317</c:v>
                </c:pt>
                <c:pt idx="1">
                  <c:v>1.6720302811374405E-2</c:v>
                </c:pt>
                <c:pt idx="2">
                  <c:v>6.3513169623176297E-2</c:v>
                </c:pt>
                <c:pt idx="3">
                  <c:v>9.3178130587054195E-2</c:v>
                </c:pt>
                <c:pt idx="4">
                  <c:v>0.12295245418285258</c:v>
                </c:pt>
                <c:pt idx="5">
                  <c:v>9.4261497962098456E-2</c:v>
                </c:pt>
                <c:pt idx="6">
                  <c:v>8.2065990268195041E-2</c:v>
                </c:pt>
                <c:pt idx="7">
                  <c:v>0.11611454147200324</c:v>
                </c:pt>
                <c:pt idx="8">
                  <c:v>1.3036568854015471E-2</c:v>
                </c:pt>
                <c:pt idx="9">
                  <c:v>5.0436397346530102E-3</c:v>
                </c:pt>
                <c:pt idx="10">
                  <c:v>4.263787717324140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3">
                  <c:v>1.5312834000551681E-3</c:v>
                </c:pt>
                <c:pt idx="4">
                  <c:v>2.4511403542095689E-2</c:v>
                </c:pt>
                <c:pt idx="5">
                  <c:v>1.1255629561336989E-2</c:v>
                </c:pt>
                <c:pt idx="6">
                  <c:v>3.4488823824444016E-3</c:v>
                </c:pt>
                <c:pt idx="7">
                  <c:v>3.911933281103723E-2</c:v>
                </c:pt>
                <c:pt idx="8">
                  <c:v>5.9654407999439149E-2</c:v>
                </c:pt>
                <c:pt idx="10">
                  <c:v>1.252313814596633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4.460077483436313E-2</c:v>
                </c:pt>
                <c:pt idx="3">
                  <c:v>5.4451222901806175E-3</c:v>
                </c:pt>
                <c:pt idx="4">
                  <c:v>3.3473205913755258E-2</c:v>
                </c:pt>
                <c:pt idx="5">
                  <c:v>6.6811401674279236E-2</c:v>
                </c:pt>
                <c:pt idx="6">
                  <c:v>8.4363289562583973E-2</c:v>
                </c:pt>
                <c:pt idx="7">
                  <c:v>0.13393280170829641</c:v>
                </c:pt>
                <c:pt idx="8">
                  <c:v>0.16430551004581079</c:v>
                </c:pt>
                <c:pt idx="9">
                  <c:v>1.9509471402694505E-3</c:v>
                </c:pt>
                <c:pt idx="10">
                  <c:v>2.760820176628058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4">
                  <c:v>1.5827892649329803E-3</c:v>
                </c:pt>
                <c:pt idx="5">
                  <c:v>1.0227639445202319E-3</c:v>
                </c:pt>
                <c:pt idx="6">
                  <c:v>2.11352858812946E-3</c:v>
                </c:pt>
                <c:pt idx="7">
                  <c:v>1.2359522261658679E-2</c:v>
                </c:pt>
                <c:pt idx="8">
                  <c:v>7.7546789606724606E-2</c:v>
                </c:pt>
                <c:pt idx="9">
                  <c:v>9.1386037573759502E-2</c:v>
                </c:pt>
                <c:pt idx="10">
                  <c:v>7.195596078810348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6">
                  <c:v>7.8205123102439988E-4</c:v>
                </c:pt>
                <c:pt idx="7">
                  <c:v>8.5864487922655375E-4</c:v>
                </c:pt>
                <c:pt idx="8">
                  <c:v>2.0849984421797418E-3</c:v>
                </c:pt>
                <c:pt idx="9">
                  <c:v>7.1204255905643566E-3</c:v>
                </c:pt>
                <c:pt idx="10">
                  <c:v>6.593875842959616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7">
                  <c:v>9.3989025208056538E-4</c:v>
                </c:pt>
                <c:pt idx="8">
                  <c:v>1.7408431637063512E-2</c:v>
                </c:pt>
                <c:pt idx="9">
                  <c:v>7.3325021229756482E-2</c:v>
                </c:pt>
                <c:pt idx="10">
                  <c:v>2.360577062899024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4">
                  <c:v>1.0353933848593858E-3</c:v>
                </c:pt>
                <c:pt idx="5">
                  <c:v>3.2872931500213406E-3</c:v>
                </c:pt>
                <c:pt idx="6">
                  <c:v>1.4446770527298628E-6</c:v>
                </c:pt>
                <c:pt idx="8">
                  <c:v>6.7038096225077535E-3</c:v>
                </c:pt>
                <c:pt idx="9">
                  <c:v>1.1334490303481788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38408398509318525</c:v>
                </c:pt>
                <c:pt idx="1">
                  <c:v>1.499358079175688E-2</c:v>
                </c:pt>
                <c:pt idx="2">
                  <c:v>2.7430950295927979E-2</c:v>
                </c:pt>
                <c:pt idx="3">
                  <c:v>9.2022166018751933E-2</c:v>
                </c:pt>
                <c:pt idx="4">
                  <c:v>0.1211874598019153</c:v>
                </c:pt>
                <c:pt idx="5">
                  <c:v>1.4701624298035509E-2</c:v>
                </c:pt>
                <c:pt idx="6">
                  <c:v>7.3463827228517742E-2</c:v>
                </c:pt>
                <c:pt idx="8">
                  <c:v>9.34587352196057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1.4461477860821408E-3</c:v>
                </c:pt>
                <c:pt idx="7">
                  <c:v>7.961922122900063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0">
                  <c:v>3.0591427436048066E-3</c:v>
                </c:pt>
                <c:pt idx="1">
                  <c:v>1.3589634077937499E-3</c:v>
                </c:pt>
                <c:pt idx="2">
                  <c:v>1.0662046695607332E-2</c:v>
                </c:pt>
                <c:pt idx="3">
                  <c:v>1.1143902948008429E-3</c:v>
                </c:pt>
                <c:pt idx="4">
                  <c:v>5.5425947098465371E-4</c:v>
                </c:pt>
                <c:pt idx="5">
                  <c:v>2.0497041834826365E-2</c:v>
                </c:pt>
                <c:pt idx="6">
                  <c:v>4.106417801058187E-3</c:v>
                </c:pt>
                <c:pt idx="7">
                  <c:v>2.8676260467808926E-4</c:v>
                </c:pt>
                <c:pt idx="8">
                  <c:v>3.3078472276483062E-5</c:v>
                </c:pt>
                <c:pt idx="9">
                  <c:v>1.330593887874511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2">
                  <c:v>2.5417639380296023E-2</c:v>
                </c:pt>
                <c:pt idx="5">
                  <c:v>5.565150345550466E-2</c:v>
                </c:pt>
                <c:pt idx="6">
                  <c:v>4.3301589025622807E-3</c:v>
                </c:pt>
                <c:pt idx="7">
                  <c:v>0.1144553313245152</c:v>
                </c:pt>
                <c:pt idx="8">
                  <c:v>5.3573069161868478E-3</c:v>
                </c:pt>
                <c:pt idx="9">
                  <c:v>4.4192584188674673E-3</c:v>
                </c:pt>
                <c:pt idx="10">
                  <c:v>3.874956797026830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38884991678725317</c:v>
                </c:pt>
                <c:pt idx="1">
                  <c:v>1.6720302811374405E-2</c:v>
                </c:pt>
                <c:pt idx="2">
                  <c:v>6.3513169623176297E-2</c:v>
                </c:pt>
                <c:pt idx="3">
                  <c:v>9.3178130587054195E-2</c:v>
                </c:pt>
                <c:pt idx="4">
                  <c:v>0.12295245418285258</c:v>
                </c:pt>
                <c:pt idx="5">
                  <c:v>9.4261497962098456E-2</c:v>
                </c:pt>
                <c:pt idx="6">
                  <c:v>8.2065990268195041E-2</c:v>
                </c:pt>
                <c:pt idx="7">
                  <c:v>0.11611454147200324</c:v>
                </c:pt>
                <c:pt idx="8">
                  <c:v>1.3036568854015471E-2</c:v>
                </c:pt>
                <c:pt idx="9">
                  <c:v>5.0436397346530102E-3</c:v>
                </c:pt>
                <c:pt idx="10">
                  <c:v>4.263787717324140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6">
                  <c:v>1.578383506289428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38408398509318525</c:v>
                </c:pt>
                <c:pt idx="1">
                  <c:v>1.499358079175688E-2</c:v>
                </c:pt>
                <c:pt idx="2">
                  <c:v>2.7430950295927979E-2</c:v>
                </c:pt>
                <c:pt idx="3">
                  <c:v>9.2022166018751933E-2</c:v>
                </c:pt>
                <c:pt idx="4">
                  <c:v>0.1211874598019153</c:v>
                </c:pt>
                <c:pt idx="5">
                  <c:v>1.4701624298035509E-2</c:v>
                </c:pt>
                <c:pt idx="6">
                  <c:v>7.3463827228517742E-2</c:v>
                </c:pt>
                <c:pt idx="8">
                  <c:v>9.34587352196057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1.4461477860821408E-3</c:v>
                </c:pt>
                <c:pt idx="7">
                  <c:v>7.961922122900063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0">
                  <c:v>3.0591427436048066E-3</c:v>
                </c:pt>
                <c:pt idx="1">
                  <c:v>1.3589634077937499E-3</c:v>
                </c:pt>
                <c:pt idx="2">
                  <c:v>1.0662046695607332E-2</c:v>
                </c:pt>
                <c:pt idx="3">
                  <c:v>1.1143902948008429E-3</c:v>
                </c:pt>
                <c:pt idx="4">
                  <c:v>5.5425947098465371E-4</c:v>
                </c:pt>
                <c:pt idx="5">
                  <c:v>2.0497041834826365E-2</c:v>
                </c:pt>
                <c:pt idx="6">
                  <c:v>4.106417801058187E-3</c:v>
                </c:pt>
                <c:pt idx="7">
                  <c:v>2.8676260467808926E-4</c:v>
                </c:pt>
                <c:pt idx="8">
                  <c:v>3.3078472276483062E-5</c:v>
                </c:pt>
                <c:pt idx="9">
                  <c:v>1.330593887874511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2">
                  <c:v>2.5417639380296023E-2</c:v>
                </c:pt>
                <c:pt idx="4">
                  <c:v>1.0353933848593858E-3</c:v>
                </c:pt>
                <c:pt idx="5">
                  <c:v>5.8938796605525999E-2</c:v>
                </c:pt>
                <c:pt idx="6">
                  <c:v>2.7532200733255828E-3</c:v>
                </c:pt>
                <c:pt idx="7">
                  <c:v>0.1144553313245152</c:v>
                </c:pt>
                <c:pt idx="8">
                  <c:v>1.2061116538694603E-2</c:v>
                </c:pt>
                <c:pt idx="9">
                  <c:v>4.4203918678978153E-3</c:v>
                </c:pt>
                <c:pt idx="10">
                  <c:v>3.874956797026830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5700000000000003E-2</c:v>
                </c:pt>
                <c:pt idx="2">
                  <c:v>0.34739999999999999</c:v>
                </c:pt>
                <c:pt idx="6">
                  <c:v>0.60470000000000002</c:v>
                </c:pt>
                <c:pt idx="7">
                  <c:v>1.15E-2</c:v>
                </c:pt>
                <c:pt idx="8">
                  <c:v>5.9999999999999995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4558135791158011</c:v>
                </c:pt>
                <c:pt idx="1">
                  <c:v>8.6227047736811696E-2</c:v>
                </c:pt>
                <c:pt idx="2">
                  <c:v>4.3982542278881924E-2</c:v>
                </c:pt>
                <c:pt idx="3">
                  <c:v>8.9281972562848422E-2</c:v>
                </c:pt>
                <c:pt idx="4">
                  <c:v>8.6015367767062784E-2</c:v>
                </c:pt>
                <c:pt idx="5">
                  <c:v>0.22008154238952654</c:v>
                </c:pt>
                <c:pt idx="6">
                  <c:v>5.4565801990903003E-2</c:v>
                </c:pt>
                <c:pt idx="7">
                  <c:v>0.21956568464527129</c:v>
                </c:pt>
                <c:pt idx="8">
                  <c:v>4.1164972469924004E-2</c:v>
                </c:pt>
                <c:pt idx="9">
                  <c:v>9.853807425085296E-4</c:v>
                </c:pt>
                <c:pt idx="10">
                  <c:v>1.254832950468172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1.6527238673320203E-3</c:v>
                </c:pt>
                <c:pt idx="2">
                  <c:v>1.6059083970395769E-2</c:v>
                </c:pt>
                <c:pt idx="6">
                  <c:v>2.7953919788145012E-2</c:v>
                </c:pt>
                <c:pt idx="7">
                  <c:v>5.3234492257105484E-4</c:v>
                </c:pt>
                <c:pt idx="8">
                  <c:v>2.7355501288858762E-5</c:v>
                </c:pt>
                <c:pt idx="9">
                  <c:v>3.6626612604329721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14558135791158011</c:v>
                </c:pt>
                <c:pt idx="1">
                  <c:v>8.457293996621934E-2</c:v>
                </c:pt>
                <c:pt idx="2">
                  <c:v>2.7577404453745107E-2</c:v>
                </c:pt>
                <c:pt idx="3">
                  <c:v>4.9595258501865309E-2</c:v>
                </c:pt>
                <c:pt idx="4">
                  <c:v>7.9878453961755275E-2</c:v>
                </c:pt>
                <c:pt idx="5">
                  <c:v>0.12532312645368698</c:v>
                </c:pt>
                <c:pt idx="6">
                  <c:v>2.6603266624565833E-2</c:v>
                </c:pt>
                <c:pt idx="7">
                  <c:v>7.796717950635723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3">
                  <c:v>3.9682380258667854E-2</c:v>
                </c:pt>
                <c:pt idx="5">
                  <c:v>6.9041575768024555E-2</c:v>
                </c:pt>
                <c:pt idx="7">
                  <c:v>0.1343528767163255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ollar Shave Club</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2.4685192313674349E-3</c:v>
                </c:pt>
                <c:pt idx="5">
                  <c:v>1.3796407342393437E-2</c:v>
                </c:pt>
                <c:pt idx="7">
                  <c:v>6.7103544115378784E-3</c:v>
                </c:pt>
                <c:pt idx="8">
                  <c:v>1.72938742557507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3.6683009263510252E-3</c:v>
                </c:pt>
                <c:pt idx="5">
                  <c:v>1.1919969790120197E-2</c:v>
                </c:pt>
                <c:pt idx="6">
                  <c:v>5.4471680961268775E-6</c:v>
                </c:pt>
                <c:pt idx="8">
                  <c:v>2.3842114285363779E-2</c:v>
                </c:pt>
                <c:pt idx="9">
                  <c:v>9.7398695250803505E-4</c:v>
                </c:pt>
                <c:pt idx="10">
                  <c:v>1.254826707295569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9.35E-2</c:v>
                </c:pt>
                <c:pt idx="5">
                  <c:v>0.2984</c:v>
                </c:pt>
                <c:pt idx="8">
                  <c:v>0.6078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4558135791158011</c:v>
                </c:pt>
                <c:pt idx="1">
                  <c:v>8.6227047736811696E-2</c:v>
                </c:pt>
                <c:pt idx="2">
                  <c:v>4.3982542278881924E-2</c:v>
                </c:pt>
                <c:pt idx="3">
                  <c:v>8.9281972562848422E-2</c:v>
                </c:pt>
                <c:pt idx="4">
                  <c:v>8.6015367767062784E-2</c:v>
                </c:pt>
                <c:pt idx="5">
                  <c:v>0.22008154238952654</c:v>
                </c:pt>
                <c:pt idx="6">
                  <c:v>5.4565801990903003E-2</c:v>
                </c:pt>
                <c:pt idx="7">
                  <c:v>0.21956568464527129</c:v>
                </c:pt>
                <c:pt idx="8">
                  <c:v>4.1164972469924004E-2</c:v>
                </c:pt>
                <c:pt idx="9">
                  <c:v>9.853807425085296E-4</c:v>
                </c:pt>
                <c:pt idx="10">
                  <c:v>1.254832950468172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4">
                  <c:v>3.6683009263510252E-3</c:v>
                </c:pt>
                <c:pt idx="5">
                  <c:v>1.1703862370466981E-2</c:v>
                </c:pt>
                <c:pt idx="6">
                  <c:v>5.4471680961268775E-6</c:v>
                </c:pt>
                <c:pt idx="8">
                  <c:v>2.3838368381801971E-2</c:v>
                </c:pt>
                <c:pt idx="9">
                  <c:v>3.8603617261949791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14558135791158011</c:v>
                </c:pt>
                <c:pt idx="1">
                  <c:v>8.457293996621934E-2</c:v>
                </c:pt>
                <c:pt idx="2">
                  <c:v>2.7577404453745107E-2</c:v>
                </c:pt>
                <c:pt idx="3">
                  <c:v>4.9595258501865309E-2</c:v>
                </c:pt>
                <c:pt idx="4">
                  <c:v>7.9878453961755275E-2</c:v>
                </c:pt>
                <c:pt idx="5">
                  <c:v>0.12532312645368698</c:v>
                </c:pt>
                <c:pt idx="6">
                  <c:v>2.6603266624565833E-2</c:v>
                </c:pt>
                <c:pt idx="7">
                  <c:v>7.796717950635723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1">
                  <c:v>1.6527238673320203E-3</c:v>
                </c:pt>
                <c:pt idx="2">
                  <c:v>1.6059083970395769E-2</c:v>
                </c:pt>
                <c:pt idx="6">
                  <c:v>2.7953919788145012E-2</c:v>
                </c:pt>
                <c:pt idx="7">
                  <c:v>5.3234492257105484E-4</c:v>
                </c:pt>
                <c:pt idx="8">
                  <c:v>2.7355501288858762E-5</c:v>
                </c:pt>
                <c:pt idx="9">
                  <c:v>3.6626612604329721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3">
                  <c:v>3.9682380258667854E-2</c:v>
                </c:pt>
                <c:pt idx="5">
                  <c:v>6.9041575768024555E-2</c:v>
                </c:pt>
                <c:pt idx="7">
                  <c:v>0.1343528767163255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2.4685192313674349E-3</c:v>
                </c:pt>
                <c:pt idx="5">
                  <c:v>1.4012514762046653E-2</c:v>
                </c:pt>
                <c:pt idx="7">
                  <c:v>6.7103544115378784E-3</c:v>
                </c:pt>
                <c:pt idx="8">
                  <c:v>1.7297620159312552E-2</c:v>
                </c:pt>
                <c:pt idx="9">
                  <c:v>9.7012659078184009E-4</c:v>
                </c:pt>
                <c:pt idx="10">
                  <c:v>1.254826707295569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2200000000000001E-2</c:v>
                </c:pt>
                <c:pt idx="3">
                  <c:v>0.2107</c:v>
                </c:pt>
                <c:pt idx="4">
                  <c:v>0.7670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96150000000000002</c:v>
                </c:pt>
                <c:pt idx="8">
                  <c:v>1.67E-2</c:v>
                </c:pt>
                <c:pt idx="9">
                  <c:v>2.18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4558135791158011</c:v>
                </c:pt>
                <c:pt idx="1">
                  <c:v>8.6227047736811696E-2</c:v>
                </c:pt>
                <c:pt idx="2">
                  <c:v>4.3982542278881924E-2</c:v>
                </c:pt>
                <c:pt idx="3">
                  <c:v>8.9281972562848422E-2</c:v>
                </c:pt>
                <c:pt idx="4">
                  <c:v>8.6015367767062784E-2</c:v>
                </c:pt>
                <c:pt idx="5">
                  <c:v>0.22008154238952654</c:v>
                </c:pt>
                <c:pt idx="6">
                  <c:v>5.4565801990903003E-2</c:v>
                </c:pt>
                <c:pt idx="7">
                  <c:v>0.21956568464527129</c:v>
                </c:pt>
                <c:pt idx="8">
                  <c:v>4.1164972469924004E-2</c:v>
                </c:pt>
                <c:pt idx="9">
                  <c:v>9.853807425085296E-4</c:v>
                </c:pt>
                <c:pt idx="10">
                  <c:v>1.254832950468172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5">
                  <c:v>2.1610741965321704E-4</c:v>
                </c:pt>
                <c:pt idx="8">
                  <c:v>3.7459035618064487E-6</c:v>
                </c:pt>
                <c:pt idx="9">
                  <c:v>4.9112957810351219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14558135791158011</c:v>
                </c:pt>
                <c:pt idx="1">
                  <c:v>8.457293996621934E-2</c:v>
                </c:pt>
                <c:pt idx="2">
                  <c:v>2.7577404453745107E-2</c:v>
                </c:pt>
                <c:pt idx="3">
                  <c:v>4.9595258501865309E-2</c:v>
                </c:pt>
                <c:pt idx="4">
                  <c:v>7.9878453961755275E-2</c:v>
                </c:pt>
                <c:pt idx="5">
                  <c:v>0.12532312645368698</c:v>
                </c:pt>
                <c:pt idx="6">
                  <c:v>2.6603266624565833E-2</c:v>
                </c:pt>
                <c:pt idx="7">
                  <c:v>7.796717950635723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1">
                  <c:v>1.6527238673320203E-3</c:v>
                </c:pt>
                <c:pt idx="2">
                  <c:v>1.6059083970395769E-2</c:v>
                </c:pt>
                <c:pt idx="6">
                  <c:v>2.7953919788145012E-2</c:v>
                </c:pt>
                <c:pt idx="7">
                  <c:v>5.3234492257105484E-4</c:v>
                </c:pt>
                <c:pt idx="8">
                  <c:v>2.7355501288858762E-5</c:v>
                </c:pt>
                <c:pt idx="9">
                  <c:v>3.6626612604329721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3">
                  <c:v>3.9682380258667854E-2</c:v>
                </c:pt>
                <c:pt idx="5">
                  <c:v>6.9041575768024555E-2</c:v>
                </c:pt>
                <c:pt idx="7">
                  <c:v>0.1343528767163255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6.1368201577184601E-3</c:v>
                </c:pt>
                <c:pt idx="5">
                  <c:v>2.5500269712860416E-2</c:v>
                </c:pt>
                <c:pt idx="6">
                  <c:v>5.4471680961268775E-6</c:v>
                </c:pt>
                <c:pt idx="7">
                  <c:v>6.7103544115378784E-3</c:v>
                </c:pt>
                <c:pt idx="8">
                  <c:v>4.1132242637552718E-2</c:v>
                </c:pt>
                <c:pt idx="9">
                  <c:v>9.6907565672699994E-4</c:v>
                </c:pt>
                <c:pt idx="10">
                  <c:v>1.254826707295569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30709999999999998</c:v>
                </c:pt>
                <c:pt idx="8">
                  <c:v>0.1235</c:v>
                </c:pt>
                <c:pt idx="9">
                  <c:v>0.5694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700778759286381E-2</c:v>
                </c:pt>
                <c:pt idx="3">
                  <c:v>2.9843247325667061E-3</c:v>
                </c:pt>
                <c:pt idx="4">
                  <c:v>3.4220573898453441E-2</c:v>
                </c:pt>
                <c:pt idx="5">
                  <c:v>2.2152289172894832E-3</c:v>
                </c:pt>
                <c:pt idx="6">
                  <c:v>5.0427569966264615E-2</c:v>
                </c:pt>
                <c:pt idx="7">
                  <c:v>2.02083030730789E-3</c:v>
                </c:pt>
                <c:pt idx="8">
                  <c:v>1.0125843830224343E-3</c:v>
                </c:pt>
                <c:pt idx="9">
                  <c:v>0.82191423259321217</c:v>
                </c:pt>
                <c:pt idx="10">
                  <c:v>2.299900179790484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5">
                  <c:v>2.2080972042971899E-3</c:v>
                </c:pt>
                <c:pt idx="8">
                  <c:v>8.8789826754050757E-4</c:v>
                </c:pt>
                <c:pt idx="9">
                  <c:v>4.093900412284328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hilips Norelco One Blad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1.067243020014201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n Der Hage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3">
                  <c:v>2.9843247325667061E-3</c:v>
                </c:pt>
                <c:pt idx="4">
                  <c:v>3.422057389845344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6">
                  <c:v>1.2735753630695653E-2</c:v>
                </c:pt>
                <c:pt idx="9">
                  <c:v>0.8157759672207453</c:v>
                </c:pt>
                <c:pt idx="10">
                  <c:v>2.332723888837514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6">
                  <c:v>3.7691816335568964E-2</c:v>
                </c:pt>
                <c:pt idx="7">
                  <c:v>2.02083030730789E-3</c:v>
                </c:pt>
                <c:pt idx="9">
                  <c:v>1.9788126315949625E-3</c:v>
                </c:pt>
                <c:pt idx="10">
                  <c:v>2.046480701703504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8">
                  <c:v>0.94440000000000002</c:v>
                </c:pt>
                <c:pt idx="9">
                  <c:v>5.55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9">
                  <c:v>0.9994658600837873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8">
                  <c:v>1.194001127628712E-5</c:v>
                </c:pt>
                <c:pt idx="9">
                  <c:v>7.0235360448747761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9">
                  <c:v>0.9994644553765783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numCache>
            </c:numRef>
          </c:val>
          <c:extLst>
            <c:ext xmlns:c16="http://schemas.microsoft.com/office/drawing/2014/chart" uri="{C3380CC4-5D6E-409C-BE32-E72D297353CC}">
              <c16:uniqueId val="{00000006-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8">
                  <c:v>0.99</c:v>
                </c:pt>
                <c:pt idx="10">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042663796472107</c:v>
                </c:pt>
                <c:pt idx="1">
                  <c:v>1.3453865500078965E-2</c:v>
                </c:pt>
                <c:pt idx="2">
                  <c:v>3.5980749098393418E-2</c:v>
                </c:pt>
                <c:pt idx="3">
                  <c:v>6.8158264588788375E-2</c:v>
                </c:pt>
                <c:pt idx="4">
                  <c:v>0.10261235695035056</c:v>
                </c:pt>
                <c:pt idx="5">
                  <c:v>9.5246729925306625E-2</c:v>
                </c:pt>
                <c:pt idx="6">
                  <c:v>0.11829683784830795</c:v>
                </c:pt>
                <c:pt idx="7">
                  <c:v>0.16405425177370969</c:v>
                </c:pt>
                <c:pt idx="8">
                  <c:v>0.12841875086977009</c:v>
                </c:pt>
                <c:pt idx="9">
                  <c:v>5.7041081814469291E-2</c:v>
                </c:pt>
                <c:pt idx="10">
                  <c:v>1.247073198361437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52375780573987507</c:v>
                </c:pt>
                <c:pt idx="2">
                  <c:v>4.9652348560346414E-2</c:v>
                </c:pt>
                <c:pt idx="3">
                  <c:v>0.11171770491076902</c:v>
                </c:pt>
                <c:pt idx="4">
                  <c:v>0.30985918801070861</c:v>
                </c:pt>
                <c:pt idx="5">
                  <c:v>4.966485412198864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6996880054999391</c:v>
                </c:pt>
                <c:pt idx="1">
                  <c:v>1.9411054426960676E-2</c:v>
                </c:pt>
                <c:pt idx="2">
                  <c:v>1.5694931682120109E-2</c:v>
                </c:pt>
                <c:pt idx="3">
                  <c:v>5.9115464853648849E-4</c:v>
                </c:pt>
                <c:pt idx="4">
                  <c:v>0.10298803218556715</c:v>
                </c:pt>
                <c:pt idx="5">
                  <c:v>0.11887879051284113</c:v>
                </c:pt>
                <c:pt idx="6">
                  <c:v>0.10974180907813862</c:v>
                </c:pt>
                <c:pt idx="7">
                  <c:v>0.2233258270239358</c:v>
                </c:pt>
                <c:pt idx="8">
                  <c:v>0.11635216843904812</c:v>
                </c:pt>
                <c:pt idx="9">
                  <c:v>6.3053532365605874E-2</c:v>
                </c:pt>
                <c:pt idx="10">
                  <c:v>5.999389908725215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8">
                  <c:v>5.9159146523587829E-2</c:v>
                </c:pt>
                <c:pt idx="10">
                  <c:v>5.972100225013449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16973141112187573</c:v>
                </c:pt>
                <c:pt idx="1">
                  <c:v>1.9407379713885755E-2</c:v>
                </c:pt>
                <c:pt idx="2">
                  <c:v>1.5688678742936172E-2</c:v>
                </c:pt>
                <c:pt idx="4">
                  <c:v>7.3736757987451912E-2</c:v>
                </c:pt>
                <c:pt idx="5">
                  <c:v>0.11881358411228318</c:v>
                </c:pt>
                <c:pt idx="6">
                  <c:v>0.10781209573988784</c:v>
                </c:pt>
                <c:pt idx="7">
                  <c:v>0.22068723486222816</c:v>
                </c:pt>
                <c:pt idx="8">
                  <c:v>3.7221529292399871E-2</c:v>
                </c:pt>
                <c:pt idx="9">
                  <c:v>4.4327658814073186E-3</c:v>
                </c:pt>
                <c:pt idx="10">
                  <c:v>4.192556209786741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n Der Hage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4">
                  <c:v>2.8585044766327686E-2</c:v>
                </c:pt>
                <c:pt idx="9">
                  <c:v>8.5085363510643466E-3</c:v>
                </c:pt>
                <c:pt idx="10">
                  <c:v>1.322139044356389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6">
                  <c:v>1.7886171979130377E-3</c:v>
                </c:pt>
                <c:pt idx="7">
                  <c:v>1.9637933385423709E-3</c:v>
                </c:pt>
                <c:pt idx="8">
                  <c:v>1.5236772999938997E-3</c:v>
                </c:pt>
                <c:pt idx="9">
                  <c:v>1.2032556555130745E-2</c:v>
                </c:pt>
                <c:pt idx="10">
                  <c:v>3.071763782805352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8">
                  <c:v>1.8447005305668288E-2</c:v>
                </c:pt>
                <c:pt idx="9">
                  <c:v>3.7615158234898402E-2</c:v>
                </c:pt>
                <c:pt idx="10">
                  <c:v>3.841146954605988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6996880054999391</c:v>
                </c:pt>
                <c:pt idx="1">
                  <c:v>1.9411054426960676E-2</c:v>
                </c:pt>
                <c:pt idx="2">
                  <c:v>1.5694931682120109E-2</c:v>
                </c:pt>
                <c:pt idx="3">
                  <c:v>5.9115464853648849E-4</c:v>
                </c:pt>
                <c:pt idx="4">
                  <c:v>0.10298803218556715</c:v>
                </c:pt>
                <c:pt idx="5">
                  <c:v>0.11887879051284113</c:v>
                </c:pt>
                <c:pt idx="6">
                  <c:v>0.10974180907813862</c:v>
                </c:pt>
                <c:pt idx="7">
                  <c:v>0.2233258270239358</c:v>
                </c:pt>
                <c:pt idx="8">
                  <c:v>0.11635216843904812</c:v>
                </c:pt>
                <c:pt idx="9">
                  <c:v>6.3053532365605874E-2</c:v>
                </c:pt>
                <c:pt idx="10">
                  <c:v>5.999389908725215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0">
                  <c:v>2.799364810039782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16973141112187573</c:v>
                </c:pt>
                <c:pt idx="1">
                  <c:v>1.9407379713885755E-2</c:v>
                </c:pt>
                <c:pt idx="2">
                  <c:v>1.5688678742936172E-2</c:v>
                </c:pt>
                <c:pt idx="4">
                  <c:v>7.3736757987451912E-2</c:v>
                </c:pt>
                <c:pt idx="5">
                  <c:v>0.11881358411228318</c:v>
                </c:pt>
                <c:pt idx="6">
                  <c:v>0.10781209573988784</c:v>
                </c:pt>
                <c:pt idx="7">
                  <c:v>0.22068723486222816</c:v>
                </c:pt>
                <c:pt idx="8">
                  <c:v>3.7221529292399871E-2</c:v>
                </c:pt>
                <c:pt idx="9">
                  <c:v>4.4327658814073186E-3</c:v>
                </c:pt>
                <c:pt idx="10">
                  <c:v>4.192556209786741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n Der Hage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4">
                  <c:v>2.8585044766327686E-2</c:v>
                </c:pt>
                <c:pt idx="9">
                  <c:v>8.5085363510643466E-3</c:v>
                </c:pt>
                <c:pt idx="10">
                  <c:v>1.322139044356389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6">
                  <c:v>1.7886171979130377E-3</c:v>
                </c:pt>
                <c:pt idx="7">
                  <c:v>1.9637933385423709E-3</c:v>
                </c:pt>
                <c:pt idx="8">
                  <c:v>1.5236772999938997E-3</c:v>
                </c:pt>
                <c:pt idx="9">
                  <c:v>1.2032556555130745E-2</c:v>
                </c:pt>
                <c:pt idx="10">
                  <c:v>3.071763782805352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8">
                  <c:v>7.760615182925612E-2</c:v>
                </c:pt>
                <c:pt idx="9">
                  <c:v>3.7615158234898402E-2</c:v>
                </c:pt>
                <c:pt idx="10">
                  <c:v>1.1015031468163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425669992622063E-3</c:v>
                </c:pt>
                <c:pt idx="1">
                  <c:v>1.4680136324937587E-2</c:v>
                </c:pt>
                <c:pt idx="2">
                  <c:v>1.8745097160087751E-2</c:v>
                </c:pt>
                <c:pt idx="4">
                  <c:v>0.1403537014927112</c:v>
                </c:pt>
                <c:pt idx="5">
                  <c:v>0.11732886490854123</c:v>
                </c:pt>
                <c:pt idx="6">
                  <c:v>0.15268108301152919</c:v>
                </c:pt>
                <c:pt idx="7">
                  <c:v>0.29713416284022282</c:v>
                </c:pt>
                <c:pt idx="8">
                  <c:v>8.7282569187503489E-2</c:v>
                </c:pt>
                <c:pt idx="9">
                  <c:v>4.6174735081439218E-2</c:v>
                </c:pt>
                <c:pt idx="10">
                  <c:v>0.1219715317839536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0">
                  <c:v>8.528913734853504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3.6425669992622063E-3</c:v>
                </c:pt>
                <c:pt idx="1">
                  <c:v>1.4680136324937587E-2</c:v>
                </c:pt>
                <c:pt idx="2">
                  <c:v>1.8745097160087751E-2</c:v>
                </c:pt>
                <c:pt idx="4">
                  <c:v>0.14018573557172512</c:v>
                </c:pt>
                <c:pt idx="5">
                  <c:v>6.748452159209975E-2</c:v>
                </c:pt>
                <c:pt idx="6">
                  <c:v>0.15268108301152919</c:v>
                </c:pt>
                <c:pt idx="7">
                  <c:v>0.29713416284022282</c:v>
                </c:pt>
                <c:pt idx="8">
                  <c:v>7.307354046565038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n Der Hage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5">
                  <c:v>4.9844343316441483E-2</c:v>
                </c:pt>
                <c:pt idx="9">
                  <c:v>2.8215962988973942E-3</c:v>
                </c:pt>
                <c:pt idx="10">
                  <c:v>3.668212067712653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8">
                  <c:v>7.50894356933635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8">
                  <c:v>4.8857794475749301E-3</c:v>
                </c:pt>
                <c:pt idx="9">
                  <c:v>4.335294106821976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8">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425669992622063E-3</c:v>
                </c:pt>
                <c:pt idx="1">
                  <c:v>1.4680136324937587E-2</c:v>
                </c:pt>
                <c:pt idx="2">
                  <c:v>1.8745097160087751E-2</c:v>
                </c:pt>
                <c:pt idx="4">
                  <c:v>0.1403537014927112</c:v>
                </c:pt>
                <c:pt idx="5">
                  <c:v>0.11732886490854123</c:v>
                </c:pt>
                <c:pt idx="6">
                  <c:v>0.15268108301152919</c:v>
                </c:pt>
                <c:pt idx="7">
                  <c:v>0.29713416284022282</c:v>
                </c:pt>
                <c:pt idx="8">
                  <c:v>8.7282569187503489E-2</c:v>
                </c:pt>
                <c:pt idx="9">
                  <c:v>4.6174735081439218E-2</c:v>
                </c:pt>
                <c:pt idx="10">
                  <c:v>0.1219715317839536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8.2898860286278325E-3</c:v>
                </c:pt>
                <c:pt idx="3">
                  <c:v>7.88345210125493E-2</c:v>
                </c:pt>
                <c:pt idx="4">
                  <c:v>0.2869837543867066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52375780573987507</c:v>
                </c:pt>
                <c:pt idx="2">
                  <c:v>4.1362462531718582E-2</c:v>
                </c:pt>
                <c:pt idx="3">
                  <c:v>3.2883183898219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4">
                  <c:v>2.0792083230416369E-2</c:v>
                </c:pt>
                <c:pt idx="5">
                  <c:v>4.966485412198864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2.083350393585573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8">
                  <c:v>7.508943569336351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3.6425669992622063E-3</c:v>
                </c:pt>
                <c:pt idx="1">
                  <c:v>1.4680136324937587E-2</c:v>
                </c:pt>
                <c:pt idx="2">
                  <c:v>1.8745097160087751E-2</c:v>
                </c:pt>
                <c:pt idx="4">
                  <c:v>0.14018573557172512</c:v>
                </c:pt>
                <c:pt idx="5">
                  <c:v>6.748452159209975E-2</c:v>
                </c:pt>
                <c:pt idx="6">
                  <c:v>0.15268108301152919</c:v>
                </c:pt>
                <c:pt idx="7">
                  <c:v>0.29713416284022282</c:v>
                </c:pt>
                <c:pt idx="8">
                  <c:v>7.307354046565038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n Der Hage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5">
                  <c:v>4.9844343316441483E-2</c:v>
                </c:pt>
                <c:pt idx="9">
                  <c:v>2.8215962988973942E-3</c:v>
                </c:pt>
                <c:pt idx="10">
                  <c:v>3.668212067712653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8">
                  <c:v>4.8857794475749301E-3</c:v>
                </c:pt>
                <c:pt idx="9">
                  <c:v>4.335294106821976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10">
                  <c:v>8.528913734853504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9999999999999998E-4</c:v>
                </c:pt>
                <c:pt idx="3">
                  <c:v>2.3800000000000002E-2</c:v>
                </c:pt>
                <c:pt idx="4">
                  <c:v>0.21709999999999999</c:v>
                </c:pt>
                <c:pt idx="5">
                  <c:v>0.1003</c:v>
                </c:pt>
                <c:pt idx="6">
                  <c:v>6.3E-2</c:v>
                </c:pt>
                <c:pt idx="7">
                  <c:v>0.30549999999999999</c:v>
                </c:pt>
                <c:pt idx="8">
                  <c:v>0.27850000000000003</c:v>
                </c:pt>
                <c:pt idx="9">
                  <c:v>2E-3</c:v>
                </c:pt>
                <c:pt idx="10">
                  <c:v>8.8000000000000005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3955831365356308</c:v>
                </c:pt>
                <c:pt idx="1">
                  <c:v>1.5867690938937612E-2</c:v>
                </c:pt>
                <c:pt idx="3">
                  <c:v>7.0780488761040899E-2</c:v>
                </c:pt>
                <c:pt idx="4">
                  <c:v>6.6102400114816051E-2</c:v>
                </c:pt>
                <c:pt idx="5">
                  <c:v>5.3226312163371231E-2</c:v>
                </c:pt>
                <c:pt idx="6">
                  <c:v>0.18118895204105848</c:v>
                </c:pt>
                <c:pt idx="7">
                  <c:v>0.11946606539180801</c:v>
                </c:pt>
                <c:pt idx="8">
                  <c:v>0.22939411679242686</c:v>
                </c:pt>
                <c:pt idx="9">
                  <c:v>0.10879962889515506</c:v>
                </c:pt>
                <c:pt idx="10">
                  <c:v>1.54930056331437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1.3092694756579823E-5</c:v>
                </c:pt>
                <c:pt idx="2">
                  <c:v>1.1613757530296616E-4</c:v>
                </c:pt>
                <c:pt idx="3">
                  <c:v>2.9214170946508184E-3</c:v>
                </c:pt>
                <c:pt idx="4">
                  <c:v>2.6641682650507748E-2</c:v>
                </c:pt>
                <c:pt idx="5">
                  <c:v>1.2301941709315209E-2</c:v>
                </c:pt>
                <c:pt idx="6">
                  <c:v>7.7331850763960389E-3</c:v>
                </c:pt>
                <c:pt idx="7">
                  <c:v>3.7487234092400616E-2</c:v>
                </c:pt>
                <c:pt idx="8">
                  <c:v>3.4168985337506223E-2</c:v>
                </c:pt>
                <c:pt idx="9">
                  <c:v>2.4356512551211912E-4</c:v>
                </c:pt>
                <c:pt idx="10">
                  <c:v>1.081572997822394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13955831365356308</c:v>
                </c:pt>
                <c:pt idx="1">
                  <c:v>1.5854598244181031E-2</c:v>
                </c:pt>
                <c:pt idx="3">
                  <c:v>6.7858864294694857E-2</c:v>
                </c:pt>
                <c:pt idx="4">
                  <c:v>3.9133541485185996E-2</c:v>
                </c:pt>
                <c:pt idx="5">
                  <c:v>4.0508142470820838E-2</c:v>
                </c:pt>
                <c:pt idx="6">
                  <c:v>0.16639642442936411</c:v>
                </c:pt>
                <c:pt idx="7">
                  <c:v>7.1606518561456334E-2</c:v>
                </c:pt>
                <c:pt idx="8">
                  <c:v>0.16297622892130934</c:v>
                </c:pt>
                <c:pt idx="9">
                  <c:v>4.1336483994338542E-3</c:v>
                </c:pt>
                <c:pt idx="10">
                  <c:v>8.8755321198937746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 P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6">
                  <c:v>8.8286849687489201E-4</c:v>
                </c:pt>
                <c:pt idx="7">
                  <c:v>2.0147668347299573E-3</c:v>
                </c:pt>
                <c:pt idx="8">
                  <c:v>1.0817690583342282E-2</c:v>
                </c:pt>
                <c:pt idx="9">
                  <c:v>1.5745292152337265E-2</c:v>
                </c:pt>
                <c:pt idx="10">
                  <c:v>6.987723892562213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6">
                  <c:v>6.1438035704419565E-3</c:v>
                </c:pt>
                <c:pt idx="7">
                  <c:v>6.6406308047137338E-4</c:v>
                </c:pt>
                <c:pt idx="8">
                  <c:v>5.6591499972775397E-4</c:v>
                </c:pt>
                <c:pt idx="9">
                  <c:v>5.4777869543418567E-2</c:v>
                </c:pt>
                <c:pt idx="10">
                  <c:v>5.540382571839882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7">
                  <c:v>7.6742679499914295E-3</c:v>
                </c:pt>
                <c:pt idx="8">
                  <c:v>1.9997010454233983E-2</c:v>
                </c:pt>
                <c:pt idx="9">
                  <c:v>3.3702052618295994E-2</c:v>
                </c:pt>
                <c:pt idx="10">
                  <c:v>5.740906288113532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9">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3955831365356308</c:v>
                </c:pt>
                <c:pt idx="1">
                  <c:v>1.5867690938937612E-2</c:v>
                </c:pt>
                <c:pt idx="3">
                  <c:v>7.0780488761040899E-2</c:v>
                </c:pt>
                <c:pt idx="4">
                  <c:v>6.6102400114816051E-2</c:v>
                </c:pt>
                <c:pt idx="5">
                  <c:v>5.3226312163371231E-2</c:v>
                </c:pt>
                <c:pt idx="6">
                  <c:v>0.18118895204105848</c:v>
                </c:pt>
                <c:pt idx="7">
                  <c:v>0.11946606539180801</c:v>
                </c:pt>
                <c:pt idx="8">
                  <c:v>0.22939411679242686</c:v>
                </c:pt>
                <c:pt idx="9">
                  <c:v>0.10879962889515506</c:v>
                </c:pt>
                <c:pt idx="10">
                  <c:v>1.54930056331437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9">
                  <c:v>2.484433796871440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13955831365356308</c:v>
                </c:pt>
                <c:pt idx="1">
                  <c:v>1.5854598244181031E-2</c:v>
                </c:pt>
                <c:pt idx="3">
                  <c:v>6.7858864294694857E-2</c:v>
                </c:pt>
                <c:pt idx="4">
                  <c:v>3.9133541485185996E-2</c:v>
                </c:pt>
                <c:pt idx="5">
                  <c:v>4.0508142470820838E-2</c:v>
                </c:pt>
                <c:pt idx="6">
                  <c:v>0.16639642442936411</c:v>
                </c:pt>
                <c:pt idx="7">
                  <c:v>7.1606518561456334E-2</c:v>
                </c:pt>
                <c:pt idx="8">
                  <c:v>0.16297622892130934</c:v>
                </c:pt>
                <c:pt idx="9">
                  <c:v>4.1336483994338542E-3</c:v>
                </c:pt>
                <c:pt idx="10">
                  <c:v>8.8755321198937746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1">
                  <c:v>1.3092694756579823E-5</c:v>
                </c:pt>
                <c:pt idx="2">
                  <c:v>1.1613757530296616E-4</c:v>
                </c:pt>
                <c:pt idx="3">
                  <c:v>2.9214170946508184E-3</c:v>
                </c:pt>
                <c:pt idx="4">
                  <c:v>2.6641682650507748E-2</c:v>
                </c:pt>
                <c:pt idx="5">
                  <c:v>1.2301941709315209E-2</c:v>
                </c:pt>
                <c:pt idx="6">
                  <c:v>7.7331850763960389E-3</c:v>
                </c:pt>
                <c:pt idx="7">
                  <c:v>3.7487234092400616E-2</c:v>
                </c:pt>
                <c:pt idx="8">
                  <c:v>3.4168985337506223E-2</c:v>
                </c:pt>
                <c:pt idx="9">
                  <c:v>2.4356512551211912E-4</c:v>
                </c:pt>
                <c:pt idx="10">
                  <c:v>1.081572997822394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6">
                  <c:v>8.8286849687489201E-4</c:v>
                </c:pt>
                <c:pt idx="7">
                  <c:v>2.0147668347299573E-3</c:v>
                </c:pt>
                <c:pt idx="8">
                  <c:v>1.0817690583342282E-2</c:v>
                </c:pt>
                <c:pt idx="9">
                  <c:v>1.5745292152337265E-2</c:v>
                </c:pt>
                <c:pt idx="10">
                  <c:v>6.987723892562213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6">
                  <c:v>6.1438035704419565E-3</c:v>
                </c:pt>
                <c:pt idx="7">
                  <c:v>8.3383310304628033E-3</c:v>
                </c:pt>
                <c:pt idx="8">
                  <c:v>2.0562925453961736E-2</c:v>
                </c:pt>
                <c:pt idx="9">
                  <c:v>6.3635584193000153E-2</c:v>
                </c:pt>
                <c:pt idx="10">
                  <c:v>6.294944545297520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2200000000000001E-2</c:v>
                </c:pt>
                <c:pt idx="3">
                  <c:v>0.2107</c:v>
                </c:pt>
                <c:pt idx="4">
                  <c:v>0.7670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57238894075549762</c:v>
                </c:pt>
                <c:pt idx="2">
                  <c:v>4.6986191607977706E-2</c:v>
                </c:pt>
                <c:pt idx="3">
                  <c:v>0.10571885602875664</c:v>
                </c:pt>
                <c:pt idx="4">
                  <c:v>0.272534244351468</c:v>
                </c:pt>
                <c:pt idx="5">
                  <c:v>2.32845580966439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3.9406808589446805E-5</c:v>
                </c:pt>
                <c:pt idx="2">
                  <c:v>7.8447482272868182E-3</c:v>
                </c:pt>
                <c:pt idx="3">
                  <c:v>7.4601383761673634E-2</c:v>
                </c:pt>
                <c:pt idx="4">
                  <c:v>0.2715737334277775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57238894075549762</c:v>
                </c:pt>
                <c:pt idx="2">
                  <c:v>3.9141443380690887E-2</c:v>
                </c:pt>
                <c:pt idx="3">
                  <c:v>3.111747226708300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 P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4">
                  <c:v>9.60510923690487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5">
                  <c:v>2.328455809664393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18140000000000001</c:v>
                </c:pt>
                <c:pt idx="7">
                  <c:v>0.31979999999999997</c:v>
                </c:pt>
                <c:pt idx="8">
                  <c:v>0.4986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9">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0719500588937391E-2</c:v>
                </c:pt>
                <c:pt idx="1">
                  <c:v>2.068634147270253E-2</c:v>
                </c:pt>
                <c:pt idx="3">
                  <c:v>7.673890553981802E-2</c:v>
                </c:pt>
                <c:pt idx="4">
                  <c:v>6.1463854556086439E-2</c:v>
                </c:pt>
                <c:pt idx="5">
                  <c:v>7.1684587232366967E-2</c:v>
                </c:pt>
                <c:pt idx="6">
                  <c:v>0.12221069826912168</c:v>
                </c:pt>
                <c:pt idx="7">
                  <c:v>0.22847733691779293</c:v>
                </c:pt>
                <c:pt idx="8">
                  <c:v>0.23770246609344772</c:v>
                </c:pt>
                <c:pt idx="9">
                  <c:v>0.1400804925940416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9">
                  <c:v>7.693768863228807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4.071931630528286E-2</c:v>
                </c:pt>
                <c:pt idx="1">
                  <c:v>2.068634147270253E-2</c:v>
                </c:pt>
                <c:pt idx="3">
                  <c:v>7.6738470630393324E-2</c:v>
                </c:pt>
                <c:pt idx="4">
                  <c:v>6.1463854556086439E-2</c:v>
                </c:pt>
                <c:pt idx="5">
                  <c:v>4.6134027098881911E-2</c:v>
                </c:pt>
                <c:pt idx="6">
                  <c:v>0.12220927559930869</c:v>
                </c:pt>
                <c:pt idx="7">
                  <c:v>0.15339285631489702</c:v>
                </c:pt>
                <c:pt idx="8">
                  <c:v>0.1804826272444910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5">
                  <c:v>2.5550560133485053E-2</c:v>
                </c:pt>
                <c:pt idx="7">
                  <c:v>4.6656780856018362E-2</c:v>
                </c:pt>
                <c:pt idx="8">
                  <c:v>3.384131220989560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7">
                  <c:v>1.1666563258965321E-2</c:v>
                </c:pt>
                <c:pt idx="8">
                  <c:v>3.2877899378043404E-3</c:v>
                </c:pt>
                <c:pt idx="9">
                  <c:v>5.76810639795180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7">
                  <c:v>1.6761136487912234E-2</c:v>
                </c:pt>
                <c:pt idx="8">
                  <c:v>2.0090191221639273E-2</c:v>
                </c:pt>
                <c:pt idx="9">
                  <c:v>5.450181711423281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2409</c:v>
                </c:pt>
                <c:pt idx="7">
                  <c:v>0.43990000000000001</c:v>
                </c:pt>
                <c:pt idx="8">
                  <c:v>0.319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0719500588937391E-2</c:v>
                </c:pt>
                <c:pt idx="1">
                  <c:v>2.068634147270253E-2</c:v>
                </c:pt>
                <c:pt idx="3">
                  <c:v>7.673890553981802E-2</c:v>
                </c:pt>
                <c:pt idx="4">
                  <c:v>6.1463854556086439E-2</c:v>
                </c:pt>
                <c:pt idx="5">
                  <c:v>7.1684587232366967E-2</c:v>
                </c:pt>
                <c:pt idx="6">
                  <c:v>0.12221069826912168</c:v>
                </c:pt>
                <c:pt idx="7">
                  <c:v>0.22847733691779293</c:v>
                </c:pt>
                <c:pt idx="8">
                  <c:v>0.23770246609344772</c:v>
                </c:pt>
                <c:pt idx="9">
                  <c:v>0.1400804925940416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5">
                  <c:v>2.5550560133485053E-2</c:v>
                </c:pt>
                <c:pt idx="7">
                  <c:v>4.6656780856018362E-2</c:v>
                </c:pt>
                <c:pt idx="8">
                  <c:v>3.384131220989560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4.071931630528286E-2</c:v>
                </c:pt>
                <c:pt idx="1">
                  <c:v>2.068634147270253E-2</c:v>
                </c:pt>
                <c:pt idx="3">
                  <c:v>7.6738470630393324E-2</c:v>
                </c:pt>
                <c:pt idx="4">
                  <c:v>6.1463854556086439E-2</c:v>
                </c:pt>
                <c:pt idx="5">
                  <c:v>4.6134027098881911E-2</c:v>
                </c:pt>
                <c:pt idx="6">
                  <c:v>0.12220927559930869</c:v>
                </c:pt>
                <c:pt idx="7">
                  <c:v>0.15339285631489702</c:v>
                </c:pt>
                <c:pt idx="8">
                  <c:v>0.1804826272444910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7">
                  <c:v>1.1666563258965321E-2</c:v>
                </c:pt>
                <c:pt idx="8">
                  <c:v>3.2877899378043404E-3</c:v>
                </c:pt>
                <c:pt idx="9">
                  <c:v>5.768106397951809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fort 3</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7">
                  <c:v>1.6761136487912234E-2</c:v>
                </c:pt>
                <c:pt idx="8">
                  <c:v>1.8029369227051919E-2</c:v>
                </c:pt>
                <c:pt idx="9">
                  <c:v>3.610993982467886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8">
                  <c:v>2.060821994587353E-3</c:v>
                </c:pt>
                <c:pt idx="9">
                  <c:v>7.877687636124346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9.8799999999999999E-2</c:v>
                </c:pt>
                <c:pt idx="2">
                  <c:v>6.9999999999999999E-4</c:v>
                </c:pt>
                <c:pt idx="5">
                  <c:v>4.7699999999999999E-2</c:v>
                </c:pt>
                <c:pt idx="6">
                  <c:v>0.60309999999999997</c:v>
                </c:pt>
                <c:pt idx="7">
                  <c:v>4.3900000000000002E-2</c:v>
                </c:pt>
                <c:pt idx="8">
                  <c:v>0.18729999999999999</c:v>
                </c:pt>
                <c:pt idx="9">
                  <c:v>1.8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403119612816912E-2</c:v>
                </c:pt>
                <c:pt idx="5">
                  <c:v>1.7788861158589363E-2</c:v>
                </c:pt>
                <c:pt idx="6">
                  <c:v>9.8849375360401767E-2</c:v>
                </c:pt>
                <c:pt idx="7">
                  <c:v>6.0669721034118926E-2</c:v>
                </c:pt>
                <c:pt idx="8">
                  <c:v>0.76630890516643924</c:v>
                </c:pt>
                <c:pt idx="9">
                  <c:v>3.9427347394469715E-2</c:v>
                </c:pt>
                <c:pt idx="10">
                  <c:v>2.39998248704651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1.4334221346691068E-2</c:v>
                </c:pt>
                <c:pt idx="2">
                  <c:v>1.0607396679800945E-4</c:v>
                </c:pt>
                <c:pt idx="3">
                  <c:v>8.4943067826384235E-6</c:v>
                </c:pt>
                <c:pt idx="5">
                  <c:v>6.9189536954101507E-3</c:v>
                </c:pt>
                <c:pt idx="6">
                  <c:v>8.7489760624404958E-2</c:v>
                </c:pt>
                <c:pt idx="7">
                  <c:v>6.3681608213470315E-3</c:v>
                </c:pt>
                <c:pt idx="8">
                  <c:v>2.7174834200438636E-2</c:v>
                </c:pt>
                <c:pt idx="9">
                  <c:v>2.655624417409186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5">
                  <c:v>6.1119683340632586E-3</c:v>
                </c:pt>
                <c:pt idx="6">
                  <c:v>1.0757279247320525E-2</c:v>
                </c:pt>
                <c:pt idx="7">
                  <c:v>2.9287793012619944E-3</c:v>
                </c:pt>
                <c:pt idx="8">
                  <c:v>0.70719390444350561</c:v>
                </c:pt>
                <c:pt idx="9">
                  <c:v>4.398058421692257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ollar Shave Club</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5">
                  <c:v>4.7574934401798273E-3</c:v>
                </c:pt>
                <c:pt idx="6">
                  <c:v>6.0204710171761966E-4</c:v>
                </c:pt>
                <c:pt idx="7">
                  <c:v>5.1372780911509902E-2</c:v>
                </c:pt>
                <c:pt idx="8">
                  <c:v>3.194016652249503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9">
                  <c:v>2.219465359417321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9">
                  <c:v>1.017877500822886E-2</c:v>
                </c:pt>
                <c:pt idx="10">
                  <c:v>2.392903898060978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9">
                  <c:v>0.46429999999999999</c:v>
                </c:pt>
                <c:pt idx="10">
                  <c:v>0.5356999999999999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6.0648360984531184E-2</c:v>
                </c:pt>
                <c:pt idx="5">
                  <c:v>8.7033084428397731E-2</c:v>
                </c:pt>
                <c:pt idx="6">
                  <c:v>0.11859783872996039</c:v>
                </c:pt>
                <c:pt idx="7">
                  <c:v>0.20817258551718709</c:v>
                </c:pt>
                <c:pt idx="8">
                  <c:v>0.26931744552928533</c:v>
                </c:pt>
                <c:pt idx="9">
                  <c:v>0.22134655174709394</c:v>
                </c:pt>
                <c:pt idx="10">
                  <c:v>3.488357674826126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403119612816912E-2</c:v>
                </c:pt>
                <c:pt idx="5">
                  <c:v>1.7788861158589363E-2</c:v>
                </c:pt>
                <c:pt idx="6">
                  <c:v>9.8849375360401767E-2</c:v>
                </c:pt>
                <c:pt idx="7">
                  <c:v>6.0669721034118926E-2</c:v>
                </c:pt>
                <c:pt idx="8">
                  <c:v>0.76630890516643924</c:v>
                </c:pt>
                <c:pt idx="9">
                  <c:v>3.9427347394469715E-2</c:v>
                </c:pt>
                <c:pt idx="10">
                  <c:v>2.39998248704651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9">
                  <c:v>3.4082095115524538E-7</c:v>
                </c:pt>
                <c:pt idx="10">
                  <c:v>3.9325494364066776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chick</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1">
                  <c:v>1.4334221346691068E-2</c:v>
                </c:pt>
                <c:pt idx="2">
                  <c:v>1.0607396679800945E-4</c:v>
                </c:pt>
                <c:pt idx="3">
                  <c:v>8.4943067826384235E-6</c:v>
                </c:pt>
                <c:pt idx="5">
                  <c:v>6.9189536954101507E-3</c:v>
                </c:pt>
                <c:pt idx="6">
                  <c:v>8.7489760624404958E-2</c:v>
                </c:pt>
                <c:pt idx="7">
                  <c:v>6.3681608213470315E-3</c:v>
                </c:pt>
                <c:pt idx="8">
                  <c:v>2.7174834200438636E-2</c:v>
                </c:pt>
                <c:pt idx="9">
                  <c:v>2.655624417409186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5">
                  <c:v>6.1119683340632586E-3</c:v>
                </c:pt>
                <c:pt idx="6">
                  <c:v>1.0757279247320525E-2</c:v>
                </c:pt>
                <c:pt idx="7">
                  <c:v>2.9287793012619944E-3</c:v>
                </c:pt>
                <c:pt idx="8">
                  <c:v>0.70719390444350561</c:v>
                </c:pt>
                <c:pt idx="9">
                  <c:v>4.398058421692257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ollar Shave Club</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5">
                  <c:v>4.7574934401798273E-3</c:v>
                </c:pt>
                <c:pt idx="6">
                  <c:v>6.0204710171761966E-4</c:v>
                </c:pt>
                <c:pt idx="7">
                  <c:v>5.1372780911509902E-2</c:v>
                </c:pt>
                <c:pt idx="8">
                  <c:v>3.194016652249503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9">
                  <c:v>3.2373087781450927E-2</c:v>
                </c:pt>
                <c:pt idx="10">
                  <c:v>2.392510643117337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0299999999999999E-2</c:v>
                </c:pt>
                <c:pt idx="6">
                  <c:v>0.13869999999999999</c:v>
                </c:pt>
                <c:pt idx="7">
                  <c:v>0.44979999999999998</c:v>
                </c:pt>
                <c:pt idx="8">
                  <c:v>0.1139</c:v>
                </c:pt>
                <c:pt idx="9">
                  <c:v>0.23899999999999999</c:v>
                </c:pt>
                <c:pt idx="10">
                  <c:v>3.83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4.2984217703976452E-2</c:v>
                </c:pt>
                <c:pt idx="7">
                  <c:v>1.0434830663216326E-3</c:v>
                </c:pt>
                <c:pt idx="8">
                  <c:v>0.9555909409365063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4">
                  <c:v>2.0552243345868678E-6</c:v>
                </c:pt>
                <c:pt idx="6">
                  <c:v>1.4044032953010264E-5</c:v>
                </c:pt>
                <c:pt idx="7">
                  <c:v>4.5557472750008903E-5</c:v>
                </c:pt>
                <c:pt idx="8">
                  <c:v>1.1532092099626315E-5</c:v>
                </c:pt>
                <c:pt idx="9">
                  <c:v>2.4205975496245335E-5</c:v>
                </c:pt>
                <c:pt idx="10">
                  <c:v>3.8820904097751951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6">
                  <c:v>4.2885224398527183E-2</c:v>
                </c:pt>
                <c:pt idx="7">
                  <c:v>9.3809572960920596E-4</c:v>
                </c:pt>
                <c:pt idx="8">
                  <c:v>0.9554061991046529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qua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9">
                  <c:v>1.7126869454890566E-6</c:v>
                </c:pt>
                <c:pt idx="10">
                  <c:v>1.4843286860905156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9">
                  <c:v>0.53569999999999995</c:v>
                </c:pt>
                <c:pt idx="10">
                  <c:v>0.4642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4.2984217703976452E-2</c:v>
                </c:pt>
                <c:pt idx="7">
                  <c:v>1.0434830663216326E-3</c:v>
                </c:pt>
                <c:pt idx="8">
                  <c:v>0.9555909409365063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9">
                  <c:v>1.7126869454890566E-6</c:v>
                </c:pt>
                <c:pt idx="10">
                  <c:v>1.4843286860905156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chick</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4">
                  <c:v>2.0552243345868678E-6</c:v>
                </c:pt>
                <c:pt idx="6">
                  <c:v>1.4044032953010264E-5</c:v>
                </c:pt>
                <c:pt idx="7">
                  <c:v>4.5557472750008903E-5</c:v>
                </c:pt>
                <c:pt idx="8">
                  <c:v>1.1532092099626315E-5</c:v>
                </c:pt>
                <c:pt idx="9">
                  <c:v>2.4205975496245335E-5</c:v>
                </c:pt>
                <c:pt idx="10">
                  <c:v>3.8820904097751951E-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6">
                  <c:v>4.2885224398527183E-2</c:v>
                </c:pt>
                <c:pt idx="7">
                  <c:v>9.3809572960920596E-4</c:v>
                </c:pt>
                <c:pt idx="8">
                  <c:v>0.955406199104652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7399999999999997E-2</c:v>
                </c:pt>
                <c:pt idx="1">
                  <c:v>2.1299999999999999E-2</c:v>
                </c:pt>
                <c:pt idx="2">
                  <c:v>0.16420000000000001</c:v>
                </c:pt>
                <c:pt idx="3">
                  <c:v>7.3000000000000001E-3</c:v>
                </c:pt>
                <c:pt idx="4">
                  <c:v>1.18E-2</c:v>
                </c:pt>
                <c:pt idx="5">
                  <c:v>0.30809999999999998</c:v>
                </c:pt>
                <c:pt idx="6">
                  <c:v>1.23E-2</c:v>
                </c:pt>
                <c:pt idx="7">
                  <c:v>0.39290000000000003</c:v>
                </c:pt>
                <c:pt idx="8">
                  <c:v>3.2000000000000002E-3</c:v>
                </c:pt>
                <c:pt idx="9">
                  <c:v>1.4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6233944627430822</c:v>
                </c:pt>
                <c:pt idx="1">
                  <c:v>1.1224144351217878E-2</c:v>
                </c:pt>
                <c:pt idx="2">
                  <c:v>6.3326196708289539E-2</c:v>
                </c:pt>
                <c:pt idx="3">
                  <c:v>9.0850220481340685E-2</c:v>
                </c:pt>
                <c:pt idx="4">
                  <c:v>0.1319380568567291</c:v>
                </c:pt>
                <c:pt idx="5">
                  <c:v>0.11616983669613584</c:v>
                </c:pt>
                <c:pt idx="6">
                  <c:v>9.5507258898782726E-2</c:v>
                </c:pt>
                <c:pt idx="7">
                  <c:v>0.15820972133230726</c:v>
                </c:pt>
                <c:pt idx="8">
                  <c:v>5.6322390410819496E-2</c:v>
                </c:pt>
                <c:pt idx="9">
                  <c:v>1.410415375771206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5">
                  <c:v>2.1425555934825216E-2</c:v>
                </c:pt>
                <c:pt idx="7">
                  <c:v>3.7760381977446904E-2</c:v>
                </c:pt>
                <c:pt idx="8">
                  <c:v>5.889134424476942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4">
                  <c:v>6.0648360984531184E-2</c:v>
                </c:pt>
                <c:pt idx="5">
                  <c:v>6.5607528493572514E-2</c:v>
                </c:pt>
                <c:pt idx="6">
                  <c:v>0.11627734260255143</c:v>
                </c:pt>
                <c:pt idx="7">
                  <c:v>0.14378466701866177</c:v>
                </c:pt>
                <c:pt idx="8">
                  <c:v>0.1543139289367555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6">
                  <c:v>2.320496127408958E-3</c:v>
                </c:pt>
                <c:pt idx="7">
                  <c:v>2.662753652107842E-2</c:v>
                </c:pt>
                <c:pt idx="8">
                  <c:v>5.4383731669705032E-2</c:v>
                </c:pt>
                <c:pt idx="9">
                  <c:v>0.1011799224627538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8">
                  <c:v>1.7281130701664519E-3</c:v>
                </c:pt>
                <c:pt idx="9">
                  <c:v>1.542260496658751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9">
                  <c:v>0.11861730358358649</c:v>
                </c:pt>
                <c:pt idx="10">
                  <c:v>3.466475940359194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0">
                  <c:v>4.2103146212829129E-3</c:v>
                </c:pt>
                <c:pt idx="1">
                  <c:v>1.159585087234921E-3</c:v>
                </c:pt>
                <c:pt idx="2">
                  <c:v>8.9314190545076149E-3</c:v>
                </c:pt>
                <c:pt idx="3">
                  <c:v>3.9706752301731687E-4</c:v>
                </c:pt>
                <c:pt idx="4">
                  <c:v>6.441464639290555E-4</c:v>
                </c:pt>
                <c:pt idx="5">
                  <c:v>1.6755713339871872E-2</c:v>
                </c:pt>
                <c:pt idx="6">
                  <c:v>6.6722237482707961E-4</c:v>
                </c:pt>
                <c:pt idx="7">
                  <c:v>2.1369325351079462E-2</c:v>
                </c:pt>
                <c:pt idx="8">
                  <c:v>1.748136944692421E-4</c:v>
                </c:pt>
                <c:pt idx="9">
                  <c:v>7.5116469025147094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5812913165302531</c:v>
                </c:pt>
                <c:pt idx="1">
                  <c:v>9.7572369052355886E-3</c:v>
                </c:pt>
                <c:pt idx="2">
                  <c:v>3.0676641268265418E-2</c:v>
                </c:pt>
                <c:pt idx="3">
                  <c:v>9.0200263910468703E-2</c:v>
                </c:pt>
                <c:pt idx="4">
                  <c:v>0.11690767551962004</c:v>
                </c:pt>
                <c:pt idx="5">
                  <c:v>2.943543887612959E-2</c:v>
                </c:pt>
                <c:pt idx="6">
                  <c:v>6.9957504142332261E-2</c:v>
                </c:pt>
                <c:pt idx="7">
                  <c:v>1.318871050132071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2">
                  <c:v>2.3697925003712969E-2</c:v>
                </c:pt>
                <c:pt idx="4">
                  <c:v>7.1739905355015163E-3</c:v>
                </c:pt>
                <c:pt idx="5">
                  <c:v>6.5743443133124663E-2</c:v>
                </c:pt>
                <c:pt idx="6">
                  <c:v>1.0489346670530798E-2</c:v>
                </c:pt>
                <c:pt idx="7">
                  <c:v>0.1135360038071140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5.7887257977609196E-3</c:v>
                </c:pt>
                <c:pt idx="6">
                  <c:v>1.0484528503561472E-2</c:v>
                </c:pt>
                <c:pt idx="7">
                  <c:v>8.118022227741736E-3</c:v>
                </c:pt>
                <c:pt idx="8">
                  <c:v>3.618647951340021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1.4010656157102969E-3</c:v>
                </c:pt>
                <c:pt idx="5">
                  <c:v>3.5002803591318676E-3</c:v>
                </c:pt>
                <c:pt idx="6">
                  <c:v>3.6603480191155302E-3</c:v>
                </c:pt>
                <c:pt idx="7">
                  <c:v>1.7802310415699363E-3</c:v>
                </c:pt>
                <c:pt idx="8">
                  <c:v>1.9823591338634185E-2</c:v>
                </c:pt>
                <c:pt idx="9">
                  <c:v>1.345390081453090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3.7900000000000003E-2</c:v>
                </c:pt>
                <c:pt idx="5">
                  <c:v>0.12039999999999999</c:v>
                </c:pt>
                <c:pt idx="8">
                  <c:v>0.37259999999999999</c:v>
                </c:pt>
                <c:pt idx="9">
                  <c:v>0.4689999999999999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6233944627430822</c:v>
                </c:pt>
                <c:pt idx="1">
                  <c:v>1.1224144351217878E-2</c:v>
                </c:pt>
                <c:pt idx="2">
                  <c:v>6.3326196708289539E-2</c:v>
                </c:pt>
                <c:pt idx="3">
                  <c:v>9.0850220481340685E-2</c:v>
                </c:pt>
                <c:pt idx="4">
                  <c:v>0.1319380568567291</c:v>
                </c:pt>
                <c:pt idx="5">
                  <c:v>0.11616983669613584</c:v>
                </c:pt>
                <c:pt idx="6">
                  <c:v>9.5507258898782726E-2</c:v>
                </c:pt>
                <c:pt idx="7">
                  <c:v>0.15820972133230726</c:v>
                </c:pt>
                <c:pt idx="8">
                  <c:v>5.6322390410819496E-2</c:v>
                </c:pt>
                <c:pt idx="9">
                  <c:v>1.410415375771206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4">
                  <c:v>8.6524020658117695E-4</c:v>
                </c:pt>
                <c:pt idx="5">
                  <c:v>2.7470700951055717E-3</c:v>
                </c:pt>
                <c:pt idx="6">
                  <c:v>1.2072635288439965E-6</c:v>
                </c:pt>
                <c:pt idx="8">
                  <c:v>8.5053880939440947E-3</c:v>
                </c:pt>
                <c:pt idx="9">
                  <c:v>1.070583152135436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5812913165302531</c:v>
                </c:pt>
                <c:pt idx="1">
                  <c:v>9.7572369052355886E-3</c:v>
                </c:pt>
                <c:pt idx="2">
                  <c:v>3.0676641268265418E-2</c:v>
                </c:pt>
                <c:pt idx="3">
                  <c:v>9.0200263910468703E-2</c:v>
                </c:pt>
                <c:pt idx="4">
                  <c:v>0.11690767551962004</c:v>
                </c:pt>
                <c:pt idx="5">
                  <c:v>2.943543887612959E-2</c:v>
                </c:pt>
                <c:pt idx="6">
                  <c:v>6.9957504142332261E-2</c:v>
                </c:pt>
                <c:pt idx="7">
                  <c:v>1.318871050132071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4.2103146212829129E-3</c:v>
                </c:pt>
                <c:pt idx="1">
                  <c:v>1.159585087234921E-3</c:v>
                </c:pt>
                <c:pt idx="2">
                  <c:v>8.9314190545076149E-3</c:v>
                </c:pt>
                <c:pt idx="3">
                  <c:v>3.9706752301731687E-4</c:v>
                </c:pt>
                <c:pt idx="4">
                  <c:v>6.441464639290555E-4</c:v>
                </c:pt>
                <c:pt idx="5">
                  <c:v>1.6755713339871872E-2</c:v>
                </c:pt>
                <c:pt idx="6">
                  <c:v>6.6722237482707961E-4</c:v>
                </c:pt>
                <c:pt idx="7">
                  <c:v>2.1369325351079462E-2</c:v>
                </c:pt>
                <c:pt idx="8">
                  <c:v>1.748136944692421E-4</c:v>
                </c:pt>
                <c:pt idx="9">
                  <c:v>7.5116469025147094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2">
                  <c:v>2.3697925003712969E-2</c:v>
                </c:pt>
                <c:pt idx="4">
                  <c:v>7.1739905355015163E-3</c:v>
                </c:pt>
                <c:pt idx="5">
                  <c:v>6.5743443133124663E-2</c:v>
                </c:pt>
                <c:pt idx="6">
                  <c:v>1.0489346670530798E-2</c:v>
                </c:pt>
                <c:pt idx="7">
                  <c:v>0.1135360038071140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6.3245512068900393E-3</c:v>
                </c:pt>
                <c:pt idx="5">
                  <c:v>7.5321026402629587E-4</c:v>
                </c:pt>
                <c:pt idx="6">
                  <c:v>1.4143669259148159E-2</c:v>
                </c:pt>
                <c:pt idx="7">
                  <c:v>9.8982532693116729E-3</c:v>
                </c:pt>
                <c:pt idx="8">
                  <c:v>4.7504682758090312E-2</c:v>
                </c:pt>
                <c:pt idx="9">
                  <c:v>2.748069293176538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35439999999999999</c:v>
                </c:pt>
                <c:pt idx="6">
                  <c:v>0.62060000000000004</c:v>
                </c:pt>
                <c:pt idx="7">
                  <c:v>2.4E-2</c:v>
                </c:pt>
                <c:pt idx="8">
                  <c:v>8.9999999999999998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6233944627430822</c:v>
                </c:pt>
                <c:pt idx="1">
                  <c:v>1.1224144351217878E-2</c:v>
                </c:pt>
                <c:pt idx="2">
                  <c:v>6.3326196708289539E-2</c:v>
                </c:pt>
                <c:pt idx="3">
                  <c:v>9.0850220481340685E-2</c:v>
                </c:pt>
                <c:pt idx="4">
                  <c:v>0.1319380568567291</c:v>
                </c:pt>
                <c:pt idx="5">
                  <c:v>0.11616983669613584</c:v>
                </c:pt>
                <c:pt idx="6">
                  <c:v>9.5507258898782726E-2</c:v>
                </c:pt>
                <c:pt idx="7">
                  <c:v>0.15820972133230726</c:v>
                </c:pt>
                <c:pt idx="8">
                  <c:v>5.6322390410819496E-2</c:v>
                </c:pt>
                <c:pt idx="9">
                  <c:v>1.410415375771206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5">
                  <c:v>7.5321026402629587E-4</c:v>
                </c:pt>
                <c:pt idx="6">
                  <c:v>1.3189970990896925E-3</c:v>
                </c:pt>
                <c:pt idx="7">
                  <c:v>5.1037731007472002E-5</c:v>
                </c:pt>
                <c:pt idx="8">
                  <c:v>1.8871053156278903E-6</c:v>
                </c:pt>
                <c:pt idx="9">
                  <c:v>1.2217797235795957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5812913165302531</c:v>
                </c:pt>
                <c:pt idx="1">
                  <c:v>9.7572369052355886E-3</c:v>
                </c:pt>
                <c:pt idx="2">
                  <c:v>3.0676641268265418E-2</c:v>
                </c:pt>
                <c:pt idx="3">
                  <c:v>9.0200263910468703E-2</c:v>
                </c:pt>
                <c:pt idx="4">
                  <c:v>0.11690767551962004</c:v>
                </c:pt>
                <c:pt idx="5">
                  <c:v>2.943543887612959E-2</c:v>
                </c:pt>
                <c:pt idx="6">
                  <c:v>6.9957504142332261E-2</c:v>
                </c:pt>
                <c:pt idx="7">
                  <c:v>1.318871050132071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4.2103146212829129E-3</c:v>
                </c:pt>
                <c:pt idx="1">
                  <c:v>1.159585087234921E-3</c:v>
                </c:pt>
                <c:pt idx="2">
                  <c:v>8.9314190545076149E-3</c:v>
                </c:pt>
                <c:pt idx="3">
                  <c:v>3.9706752301731687E-4</c:v>
                </c:pt>
                <c:pt idx="4">
                  <c:v>6.441464639290555E-4</c:v>
                </c:pt>
                <c:pt idx="5">
                  <c:v>1.6755713339871872E-2</c:v>
                </c:pt>
                <c:pt idx="6">
                  <c:v>6.6722237482707961E-4</c:v>
                </c:pt>
                <c:pt idx="7">
                  <c:v>2.1369325351079462E-2</c:v>
                </c:pt>
                <c:pt idx="8">
                  <c:v>1.748136944692421E-4</c:v>
                </c:pt>
                <c:pt idx="9">
                  <c:v>7.5116469025147094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2">
                  <c:v>2.3697925003712969E-2</c:v>
                </c:pt>
                <c:pt idx="4">
                  <c:v>7.1739905355015163E-3</c:v>
                </c:pt>
                <c:pt idx="5">
                  <c:v>6.5743443133124663E-2</c:v>
                </c:pt>
                <c:pt idx="6">
                  <c:v>1.0489346670530798E-2</c:v>
                </c:pt>
                <c:pt idx="7">
                  <c:v>0.1135360038071140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7.1897914134712165E-3</c:v>
                </c:pt>
                <c:pt idx="5">
                  <c:v>2.7470700951055717E-3</c:v>
                </c:pt>
                <c:pt idx="6">
                  <c:v>1.2825879423587309E-2</c:v>
                </c:pt>
                <c:pt idx="7">
                  <c:v>9.8472155383041993E-3</c:v>
                </c:pt>
                <c:pt idx="8">
                  <c:v>5.6008183746718773E-2</c:v>
                </c:pt>
                <c:pt idx="9">
                  <c:v>1.345377863655854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3.78E-2</c:v>
                </c:pt>
                <c:pt idx="5">
                  <c:v>0.1205</c:v>
                </c:pt>
                <c:pt idx="8">
                  <c:v>0.37269999999999998</c:v>
                </c:pt>
                <c:pt idx="9">
                  <c:v>0.4689999999999999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8.646254253035332E-2</c:v>
                </c:pt>
                <c:pt idx="1">
                  <c:v>8.1735915822093608E-2</c:v>
                </c:pt>
                <c:pt idx="2">
                  <c:v>3.41275660848364E-2</c:v>
                </c:pt>
                <c:pt idx="3">
                  <c:v>9.3610854036570171E-2</c:v>
                </c:pt>
                <c:pt idx="4">
                  <c:v>8.0098916011707155E-2</c:v>
                </c:pt>
                <c:pt idx="5">
                  <c:v>0.21316193566114447</c:v>
                </c:pt>
                <c:pt idx="6">
                  <c:v>0.11338277199671765</c:v>
                </c:pt>
                <c:pt idx="7">
                  <c:v>0.19894561829978633</c:v>
                </c:pt>
                <c:pt idx="8">
                  <c:v>6.4971140213984049E-2</c:v>
                </c:pt>
                <c:pt idx="9">
                  <c:v>3.3486619344207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4">
                  <c:v>2.6952698820907157E-3</c:v>
                </c:pt>
                <c:pt idx="5">
                  <c:v>8.5993674959031711E-3</c:v>
                </c:pt>
                <c:pt idx="6">
                  <c:v>4.0022856376672554E-6</c:v>
                </c:pt>
                <c:pt idx="8">
                  <c:v>2.6591315745822356E-2</c:v>
                </c:pt>
                <c:pt idx="9">
                  <c:v>3.345992597208876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8.646254253035332E-2</c:v>
                </c:pt>
                <c:pt idx="1">
                  <c:v>8.0521583368877034E-2</c:v>
                </c:pt>
                <c:pt idx="2">
                  <c:v>2.2079833870665984E-2</c:v>
                </c:pt>
                <c:pt idx="3">
                  <c:v>6.445109919678714E-2</c:v>
                </c:pt>
                <c:pt idx="4">
                  <c:v>6.2176700039345105E-2</c:v>
                </c:pt>
                <c:pt idx="5">
                  <c:v>0.12009321357653728</c:v>
                </c:pt>
                <c:pt idx="6">
                  <c:v>6.6205782259935037E-2</c:v>
                </c:pt>
                <c:pt idx="7">
                  <c:v>1.425112998342331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1">
                  <c:v>1.2143324532165778E-3</c:v>
                </c:pt>
                <c:pt idx="2">
                  <c:v>1.1799349679424757E-2</c:v>
                </c:pt>
                <c:pt idx="6">
                  <c:v>2.0538716897576186E-2</c:v>
                </c:pt>
                <c:pt idx="7">
                  <c:v>2.1175443463091907E-2</c:v>
                </c:pt>
                <c:pt idx="8">
                  <c:v>2.1708672527518954E-5</c:v>
                </c:pt>
                <c:pt idx="9">
                  <c:v>4.785923226704301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3">
                  <c:v>2.9156475029776221E-2</c:v>
                </c:pt>
                <c:pt idx="5">
                  <c:v>8.4061025888102311E-2</c:v>
                </c:pt>
                <c:pt idx="6">
                  <c:v>7.4236282382910716E-3</c:v>
                </c:pt>
                <c:pt idx="7">
                  <c:v>0.1430240472879184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1.5226946090271327E-2</c:v>
                </c:pt>
                <c:pt idx="5">
                  <c:v>3.0524404273066447E-4</c:v>
                </c:pt>
                <c:pt idx="6">
                  <c:v>1.9207255471844074E-2</c:v>
                </c:pt>
                <c:pt idx="7">
                  <c:v>2.0491943290066639E-2</c:v>
                </c:pt>
                <c:pt idx="8">
                  <c:v>3.8323238188988452E-2</c:v>
                </c:pt>
                <c:pt idx="9">
                  <c:v>3.9105427004141377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0299999999999999E-2</c:v>
                </c:pt>
                <c:pt idx="1">
                  <c:v>2.4500000000000001E-2</c:v>
                </c:pt>
                <c:pt idx="4">
                  <c:v>8.3000000000000001E-3</c:v>
                </c:pt>
                <c:pt idx="5">
                  <c:v>3.3500000000000002E-2</c:v>
                </c:pt>
                <c:pt idx="6">
                  <c:v>0.14449999999999999</c:v>
                </c:pt>
                <c:pt idx="7">
                  <c:v>0.7170999999999999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2200000000000001E-2</c:v>
                </c:pt>
                <c:pt idx="2">
                  <c:v>0.2155</c:v>
                </c:pt>
                <c:pt idx="6">
                  <c:v>0.37509999999999999</c:v>
                </c:pt>
                <c:pt idx="7">
                  <c:v>0.3866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8.646254253035332E-2</c:v>
                </c:pt>
                <c:pt idx="1">
                  <c:v>8.1735915822093608E-2</c:v>
                </c:pt>
                <c:pt idx="2">
                  <c:v>3.41275660848364E-2</c:v>
                </c:pt>
                <c:pt idx="3">
                  <c:v>9.3610854036570171E-2</c:v>
                </c:pt>
                <c:pt idx="4">
                  <c:v>8.0098916011707155E-2</c:v>
                </c:pt>
                <c:pt idx="5">
                  <c:v>0.21316193566114447</c:v>
                </c:pt>
                <c:pt idx="6">
                  <c:v>0.11338277199671765</c:v>
                </c:pt>
                <c:pt idx="7">
                  <c:v>0.19894561829978633</c:v>
                </c:pt>
                <c:pt idx="8">
                  <c:v>6.4971140213984049E-2</c:v>
                </c:pt>
                <c:pt idx="9">
                  <c:v>3.3486619344207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1.2143324532165778E-3</c:v>
                </c:pt>
                <c:pt idx="2">
                  <c:v>1.1799349679424757E-2</c:v>
                </c:pt>
                <c:pt idx="6">
                  <c:v>2.0538716897576186E-2</c:v>
                </c:pt>
                <c:pt idx="7">
                  <c:v>2.1175443463091907E-2</c:v>
                </c:pt>
                <c:pt idx="8">
                  <c:v>2.1708672527518954E-5</c:v>
                </c:pt>
                <c:pt idx="9">
                  <c:v>4.7859232267043015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8.646254253035332E-2</c:v>
                </c:pt>
                <c:pt idx="1">
                  <c:v>8.0521583368877034E-2</c:v>
                </c:pt>
                <c:pt idx="2">
                  <c:v>2.2079833870665984E-2</c:v>
                </c:pt>
                <c:pt idx="3">
                  <c:v>6.445109919678714E-2</c:v>
                </c:pt>
                <c:pt idx="4">
                  <c:v>6.2176700039345105E-2</c:v>
                </c:pt>
                <c:pt idx="5">
                  <c:v>0.12009321357653728</c:v>
                </c:pt>
                <c:pt idx="6">
                  <c:v>6.6205782259935037E-2</c:v>
                </c:pt>
                <c:pt idx="7">
                  <c:v>1.425112998342331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3">
                  <c:v>2.9156475029776221E-2</c:v>
                </c:pt>
                <c:pt idx="5">
                  <c:v>8.4061025888102311E-2</c:v>
                </c:pt>
                <c:pt idx="6">
                  <c:v>7.4236282382910716E-3</c:v>
                </c:pt>
                <c:pt idx="7">
                  <c:v>0.1430240472879184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qua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2.6952698820907157E-3</c:v>
                </c:pt>
                <c:pt idx="5">
                  <c:v>8.5993674959031711E-3</c:v>
                </c:pt>
                <c:pt idx="6">
                  <c:v>4.0022856376672554E-6</c:v>
                </c:pt>
                <c:pt idx="8">
                  <c:v>2.6591315745822356E-2</c:v>
                </c:pt>
                <c:pt idx="9">
                  <c:v>3.345992597208876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1.5226946090271327E-2</c:v>
                </c:pt>
                <c:pt idx="5">
                  <c:v>3.0524404273066447E-4</c:v>
                </c:pt>
                <c:pt idx="6">
                  <c:v>1.9207255471844074E-2</c:v>
                </c:pt>
                <c:pt idx="7">
                  <c:v>2.0491943290066639E-2</c:v>
                </c:pt>
                <c:pt idx="8">
                  <c:v>3.8323238188988452E-2</c:v>
                </c:pt>
                <c:pt idx="9">
                  <c:v>3.9105427004141377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0.38369999999999999</c:v>
                </c:pt>
                <c:pt idx="5">
                  <c:v>0.60209999999999997</c:v>
                </c:pt>
                <c:pt idx="6">
                  <c:v>1.1000000000000001E-3</c:v>
                </c:pt>
                <c:pt idx="8">
                  <c:v>5.4000000000000003E-3</c:v>
                </c:pt>
                <c:pt idx="9">
                  <c:v>7.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8.646254253035332E-2</c:v>
                </c:pt>
                <c:pt idx="1">
                  <c:v>8.1735915822093608E-2</c:v>
                </c:pt>
                <c:pt idx="2">
                  <c:v>3.41275660848364E-2</c:v>
                </c:pt>
                <c:pt idx="3">
                  <c:v>9.3610854036570171E-2</c:v>
                </c:pt>
                <c:pt idx="4">
                  <c:v>8.0098916011707155E-2</c:v>
                </c:pt>
                <c:pt idx="5">
                  <c:v>0.21316193566114447</c:v>
                </c:pt>
                <c:pt idx="6">
                  <c:v>0.11338277199671765</c:v>
                </c:pt>
                <c:pt idx="7">
                  <c:v>0.19894561829978633</c:v>
                </c:pt>
                <c:pt idx="8">
                  <c:v>6.4971140213984049E-2</c:v>
                </c:pt>
                <c:pt idx="9">
                  <c:v>3.3486619344207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4">
                  <c:v>1.9455236631239252E-4</c:v>
                </c:pt>
                <c:pt idx="5">
                  <c:v>3.0524404273066447E-4</c:v>
                </c:pt>
                <c:pt idx="6">
                  <c:v>5.4663500113315909E-7</c:v>
                </c:pt>
                <c:pt idx="8">
                  <c:v>2.7522881175935281E-6</c:v>
                </c:pt>
                <c:pt idx="9">
                  <c:v>3.9105427004141377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8.646254253035332E-2</c:v>
                </c:pt>
                <c:pt idx="1">
                  <c:v>8.0521583368877034E-2</c:v>
                </c:pt>
                <c:pt idx="2">
                  <c:v>2.2079833870665984E-2</c:v>
                </c:pt>
                <c:pt idx="3">
                  <c:v>6.445109919678714E-2</c:v>
                </c:pt>
                <c:pt idx="4">
                  <c:v>6.2176700039345105E-2</c:v>
                </c:pt>
                <c:pt idx="5">
                  <c:v>0.12009321357653728</c:v>
                </c:pt>
                <c:pt idx="6">
                  <c:v>6.6205782259935037E-2</c:v>
                </c:pt>
                <c:pt idx="7">
                  <c:v>1.425112998342331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1">
                  <c:v>1.2143324532165778E-3</c:v>
                </c:pt>
                <c:pt idx="2">
                  <c:v>1.1799349679424757E-2</c:v>
                </c:pt>
                <c:pt idx="6">
                  <c:v>2.0538716897576186E-2</c:v>
                </c:pt>
                <c:pt idx="7">
                  <c:v>2.1175443463091907E-2</c:v>
                </c:pt>
                <c:pt idx="8">
                  <c:v>2.1708672527518954E-5</c:v>
                </c:pt>
                <c:pt idx="9">
                  <c:v>4.785923226704301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3">
                  <c:v>2.9156475029776221E-2</c:v>
                </c:pt>
                <c:pt idx="5">
                  <c:v>8.4061025888102311E-2</c:v>
                </c:pt>
                <c:pt idx="6">
                  <c:v>7.4236282382910716E-3</c:v>
                </c:pt>
                <c:pt idx="7">
                  <c:v>0.1430240472879184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1.7727663606049649E-2</c:v>
                </c:pt>
                <c:pt idx="5">
                  <c:v>8.5993674959031711E-3</c:v>
                </c:pt>
                <c:pt idx="6">
                  <c:v>1.9210711122480607E-2</c:v>
                </c:pt>
                <c:pt idx="7">
                  <c:v>2.0491943290066639E-2</c:v>
                </c:pt>
                <c:pt idx="8">
                  <c:v>6.4911801646693218E-2</c:v>
                </c:pt>
                <c:pt idx="9">
                  <c:v>3.345992597208876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94210000000000005</c:v>
                </c:pt>
                <c:pt idx="6">
                  <c:v>4.8500000000000001E-2</c:v>
                </c:pt>
                <c:pt idx="7">
                  <c:v>2E-3</c:v>
                </c:pt>
                <c:pt idx="8">
                  <c:v>7.400000000000000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57255520158151496</c:v>
                </c:pt>
                <c:pt idx="1">
                  <c:v>3.4393370386308436E-2</c:v>
                </c:pt>
                <c:pt idx="2">
                  <c:v>9.5583399320380642E-4</c:v>
                </c:pt>
                <c:pt idx="3">
                  <c:v>1.0104200361308719E-3</c:v>
                </c:pt>
                <c:pt idx="4">
                  <c:v>1.1502389469334614E-3</c:v>
                </c:pt>
                <c:pt idx="5">
                  <c:v>1.6072814080516033E-2</c:v>
                </c:pt>
                <c:pt idx="6">
                  <c:v>1.1319665003604183E-2</c:v>
                </c:pt>
                <c:pt idx="7">
                  <c:v>0.17731061736698903</c:v>
                </c:pt>
                <c:pt idx="8">
                  <c:v>9.4348274450759731E-2</c:v>
                </c:pt>
                <c:pt idx="9">
                  <c:v>8.4835962580342386E-2</c:v>
                </c:pt>
                <c:pt idx="10">
                  <c:v>6.04760157369711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5">
                  <c:v>7.5327582755390114E-3</c:v>
                </c:pt>
                <c:pt idx="6">
                  <c:v>3.8742212670692697E-4</c:v>
                </c:pt>
                <c:pt idx="7">
                  <c:v>1.6190775444468588E-5</c:v>
                </c:pt>
                <c:pt idx="8">
                  <c:v>5.9443275560406104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3232448997033503</c:v>
                </c:pt>
                <c:pt idx="1">
                  <c:v>2.836207523645182E-2</c:v>
                </c:pt>
                <c:pt idx="10">
                  <c:v>6.047601573697113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0.24931030187816464</c:v>
                </c:pt>
                <c:pt idx="1">
                  <c:v>6.0112879773430916E-3</c:v>
                </c:pt>
                <c:pt idx="7">
                  <c:v>9.188750787999258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rem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2">
                  <c:v>9.3871803059108246E-4</c:v>
                </c:pt>
                <c:pt idx="3">
                  <c:v>6.6960421302480813E-5</c:v>
                </c:pt>
                <c:pt idx="5">
                  <c:v>2.9385100947750169E-3</c:v>
                </c:pt>
                <c:pt idx="6">
                  <c:v>2.4286163166702883E-6</c:v>
                </c:pt>
                <c:pt idx="7">
                  <c:v>2.0816711285745328E-5</c:v>
                </c:pt>
                <c:pt idx="8">
                  <c:v>2.6599131087341254E-6</c:v>
                </c:pt>
                <c:pt idx="9">
                  <c:v>1.8156798177011204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3">
                  <c:v>9.2125512279026271E-4</c:v>
                </c:pt>
                <c:pt idx="4">
                  <c:v>1.1474633854286953E-3</c:v>
                </c:pt>
                <c:pt idx="5">
                  <c:v>5.3633100143762524E-3</c:v>
                </c:pt>
                <c:pt idx="6">
                  <c:v>1.0648673009826991E-2</c:v>
                </c:pt>
                <c:pt idx="7">
                  <c:v>8.5291501612312109E-2</c:v>
                </c:pt>
                <c:pt idx="8">
                  <c:v>9.387874196287016E-2</c:v>
                </c:pt>
                <c:pt idx="9">
                  <c:v>8.44270298519735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2354</c:v>
                </c:pt>
                <c:pt idx="3">
                  <c:v>1.6799999999999999E-2</c:v>
                </c:pt>
                <c:pt idx="5">
                  <c:v>0.73680000000000001</c:v>
                </c:pt>
                <c:pt idx="6">
                  <c:v>5.9999999999999995E-4</c:v>
                </c:pt>
                <c:pt idx="7">
                  <c:v>5.1999999999999998E-3</c:v>
                </c:pt>
                <c:pt idx="8">
                  <c:v>6.9999999999999999E-4</c:v>
                </c:pt>
                <c:pt idx="9">
                  <c:v>4.5999999999999999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8717045455548876E-2</c:v>
                </c:pt>
                <c:pt idx="1">
                  <c:v>2.7364022125522948E-2</c:v>
                </c:pt>
                <c:pt idx="2">
                  <c:v>3.4868269824053603E-2</c:v>
                </c:pt>
                <c:pt idx="3">
                  <c:v>0.11256659499454111</c:v>
                </c:pt>
                <c:pt idx="4">
                  <c:v>0.12547544687545586</c:v>
                </c:pt>
                <c:pt idx="5">
                  <c:v>0.13562965800906482</c:v>
                </c:pt>
                <c:pt idx="6">
                  <c:v>0.21864674065138529</c:v>
                </c:pt>
                <c:pt idx="7">
                  <c:v>0.24517111729329152</c:v>
                </c:pt>
                <c:pt idx="8">
                  <c:v>1.9962655782932104E-2</c:v>
                </c:pt>
                <c:pt idx="9">
                  <c:v>1.571641347349754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57255520158151496</c:v>
                </c:pt>
                <c:pt idx="1">
                  <c:v>3.4393370386308436E-2</c:v>
                </c:pt>
                <c:pt idx="2">
                  <c:v>9.5583399320380642E-4</c:v>
                </c:pt>
                <c:pt idx="3">
                  <c:v>1.0104200361308719E-3</c:v>
                </c:pt>
                <c:pt idx="4">
                  <c:v>1.1502389469334614E-3</c:v>
                </c:pt>
                <c:pt idx="5">
                  <c:v>1.6072814080516033E-2</c:v>
                </c:pt>
                <c:pt idx="6">
                  <c:v>1.1319665003604183E-2</c:v>
                </c:pt>
                <c:pt idx="7">
                  <c:v>0.17731061736698903</c:v>
                </c:pt>
                <c:pt idx="8">
                  <c:v>9.4348274450759731E-2</c:v>
                </c:pt>
                <c:pt idx="9">
                  <c:v>8.4835962580342386E-2</c:v>
                </c:pt>
                <c:pt idx="10">
                  <c:v>6.04760157369711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9.3871803059108246E-4</c:v>
                </c:pt>
                <c:pt idx="3">
                  <c:v>6.6960421302480813E-5</c:v>
                </c:pt>
                <c:pt idx="5">
                  <c:v>2.9385100947750169E-3</c:v>
                </c:pt>
                <c:pt idx="6">
                  <c:v>2.4286163166702883E-6</c:v>
                </c:pt>
                <c:pt idx="7">
                  <c:v>2.0816711285745328E-5</c:v>
                </c:pt>
                <c:pt idx="8">
                  <c:v>2.6599131087341254E-6</c:v>
                </c:pt>
                <c:pt idx="9">
                  <c:v>1.8156798177011204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3232448997033503</c:v>
                </c:pt>
                <c:pt idx="1">
                  <c:v>2.836207523645182E-2</c:v>
                </c:pt>
                <c:pt idx="10">
                  <c:v>6.047601573697113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0.24931030187816464</c:v>
                </c:pt>
                <c:pt idx="1">
                  <c:v>6.0112879773430916E-3</c:v>
                </c:pt>
                <c:pt idx="7">
                  <c:v>9.188750787999258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Van Der Hage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3">
                  <c:v>9.2125512279026271E-4</c:v>
                </c:pt>
                <c:pt idx="4">
                  <c:v>1.147463385428695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5">
                  <c:v>1.2896068289915264E-2</c:v>
                </c:pt>
                <c:pt idx="6">
                  <c:v>1.1036095136533917E-2</c:v>
                </c:pt>
                <c:pt idx="7">
                  <c:v>8.5307692387756581E-2</c:v>
                </c:pt>
                <c:pt idx="8">
                  <c:v>9.393818523843056E-2</c:v>
                </c:pt>
                <c:pt idx="9">
                  <c:v>8.44270298519735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4582</c:v>
                </c:pt>
                <c:pt idx="7">
                  <c:v>0.4849</c:v>
                </c:pt>
                <c:pt idx="8">
                  <c:v>5.68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45819397993311034</c:v>
                </c:pt>
                <c:pt idx="7">
                  <c:v>0.48494983277591974</c:v>
                </c:pt>
                <c:pt idx="8">
                  <c:v>5.685618729096989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0.45819397993311034</c:v>
                </c:pt>
                <c:pt idx="7">
                  <c:v>0.48494983277591974</c:v>
                </c:pt>
                <c:pt idx="8">
                  <c:v>5.685618729096989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13739999999999999</c:v>
                </c:pt>
                <c:pt idx="6">
                  <c:v>8.0199999999999994E-2</c:v>
                </c:pt>
                <c:pt idx="7">
                  <c:v>6.4899999999999999E-2</c:v>
                </c:pt>
                <c:pt idx="8">
                  <c:v>0.1183</c:v>
                </c:pt>
                <c:pt idx="9">
                  <c:v>0.5991999999999999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673757498983271E-2</c:v>
                </c:pt>
                <c:pt idx="1">
                  <c:v>0.9802861629529308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5">
                  <c:v>3.5026065230208814E-5</c:v>
                </c:pt>
                <c:pt idx="6">
                  <c:v>2.0431871384288474E-5</c:v>
                </c:pt>
                <c:pt idx="7">
                  <c:v>1.6540086358709718E-5</c:v>
                </c:pt>
                <c:pt idx="8">
                  <c:v>3.0161333948235369E-5</c:v>
                </c:pt>
                <c:pt idx="9">
                  <c:v>1.527525622539662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1.8673757498983271E-2</c:v>
                </c:pt>
                <c:pt idx="1">
                  <c:v>0.9802861629529308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6">
                  <c:v>1.3621247589525649E-5</c:v>
                </c:pt>
                <c:pt idx="7">
                  <c:v>1.3815836840804587E-4</c:v>
                </c:pt>
                <c:pt idx="9">
                  <c:v>1.6540086358709718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8.09E-2</c:v>
                </c:pt>
                <c:pt idx="7">
                  <c:v>0.82079999999999997</c:v>
                </c:pt>
                <c:pt idx="9">
                  <c:v>9.8299999999999998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673757498983271E-2</c:v>
                </c:pt>
                <c:pt idx="1">
                  <c:v>0.9802861629529308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0">
                  <c:v>3.9132031687074496E-3</c:v>
                </c:pt>
                <c:pt idx="1">
                  <c:v>1.5891489278941659E-3</c:v>
                </c:pt>
                <c:pt idx="4">
                  <c:v>5.3770931253172948E-4</c:v>
                </c:pt>
                <c:pt idx="5">
                  <c:v>2.1741786953458136E-3</c:v>
                </c:pt>
                <c:pt idx="6">
                  <c:v>9.3766728116807686E-3</c:v>
                </c:pt>
                <c:pt idx="7">
                  <c:v>4.653149730926087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7.4659977208416731E-2</c:v>
                </c:pt>
                <c:pt idx="1">
                  <c:v>2.5774355363565832E-2</c:v>
                </c:pt>
                <c:pt idx="2">
                  <c:v>2.8702653110848471E-2</c:v>
                </c:pt>
                <c:pt idx="3">
                  <c:v>0.11165981067836996</c:v>
                </c:pt>
                <c:pt idx="4">
                  <c:v>8.6688981124215053E-2</c:v>
                </c:pt>
                <c:pt idx="5">
                  <c:v>7.3297337280785385E-2</c:v>
                </c:pt>
                <c:pt idx="6">
                  <c:v>0.18286807963228274</c:v>
                </c:pt>
                <c:pt idx="7">
                  <c:v>7.16843380533908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2">
                  <c:v>6.0804794053876086E-3</c:v>
                </c:pt>
                <c:pt idx="4">
                  <c:v>1.7751447462194783E-2</c:v>
                </c:pt>
                <c:pt idx="5">
                  <c:v>6.0155271496133811E-2</c:v>
                </c:pt>
                <c:pt idx="6">
                  <c:v>2.5955022579585596E-2</c:v>
                </c:pt>
                <c:pt idx="7">
                  <c:v>8.601686244311326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Universal Beauty Prods In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1.907662074840461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1.4200746097113852E-3</c:v>
                </c:pt>
                <c:pt idx="7">
                  <c:v>4.0259278617339946E-2</c:v>
                </c:pt>
                <c:pt idx="8">
                  <c:v>1.9310391398590632E-2</c:v>
                </c:pt>
                <c:pt idx="9">
                  <c:v>7.697019659929390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6">
                  <c:v>1.3621247589525649E-5</c:v>
                </c:pt>
                <c:pt idx="7">
                  <c:v>1.3815836840804587E-4</c:v>
                </c:pt>
                <c:pt idx="9">
                  <c:v>1.6540086358709718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1.8673757498983271E-2</c:v>
                </c:pt>
                <c:pt idx="1">
                  <c:v>0.9802861629529308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remo</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5">
                  <c:v>3.5026065230208814E-5</c:v>
                </c:pt>
                <c:pt idx="6">
                  <c:v>2.0431871384288474E-5</c:v>
                </c:pt>
                <c:pt idx="7">
                  <c:v>1.6540086358709718E-5</c:v>
                </c:pt>
                <c:pt idx="8">
                  <c:v>3.0161333948235369E-5</c:v>
                </c:pt>
                <c:pt idx="9">
                  <c:v>1.5275256225396621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000000000000001E-3</c:v>
                </c:pt>
                <c:pt idx="1">
                  <c:v>2.3300000000000001E-2</c:v>
                </c:pt>
                <c:pt idx="2">
                  <c:v>4.99E-2</c:v>
                </c:pt>
                <c:pt idx="3">
                  <c:v>9.2999999999999992E-3</c:v>
                </c:pt>
                <c:pt idx="4">
                  <c:v>2.3999999999999998E-3</c:v>
                </c:pt>
                <c:pt idx="5">
                  <c:v>3.2500000000000001E-2</c:v>
                </c:pt>
                <c:pt idx="6">
                  <c:v>0.1384</c:v>
                </c:pt>
                <c:pt idx="7">
                  <c:v>0.1963</c:v>
                </c:pt>
                <c:pt idx="8">
                  <c:v>0.53810000000000002</c:v>
                </c:pt>
                <c:pt idx="9">
                  <c:v>7.1000000000000004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3613092548043282</c:v>
                </c:pt>
                <c:pt idx="1">
                  <c:v>1.4367146533303746E-2</c:v>
                </c:pt>
                <c:pt idx="2">
                  <c:v>3.9194264463602392E-2</c:v>
                </c:pt>
                <c:pt idx="3">
                  <c:v>8.0547249678669858E-2</c:v>
                </c:pt>
                <c:pt idx="4">
                  <c:v>0.11596106169300623</c:v>
                </c:pt>
                <c:pt idx="5">
                  <c:v>8.3186612794555845E-2</c:v>
                </c:pt>
                <c:pt idx="6">
                  <c:v>0.12668553359098761</c:v>
                </c:pt>
                <c:pt idx="7">
                  <c:v>0.16564143875248385</c:v>
                </c:pt>
                <c:pt idx="8">
                  <c:v>8.3392584798720484E-2</c:v>
                </c:pt>
                <c:pt idx="9">
                  <c:v>3.7734852739155521E-2</c:v>
                </c:pt>
                <c:pt idx="10">
                  <c:v>1.190449633392452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0">
                  <c:v>4.8686543858408132E-5</c:v>
                </c:pt>
                <c:pt idx="1">
                  <c:v>4.4981996558316053E-4</c:v>
                </c:pt>
                <c:pt idx="2">
                  <c:v>9.6376030236061075E-4</c:v>
                </c:pt>
                <c:pt idx="3">
                  <c:v>1.8040880962102128E-4</c:v>
                </c:pt>
                <c:pt idx="4">
                  <c:v>4.6461068369829703E-5</c:v>
                </c:pt>
                <c:pt idx="5">
                  <c:v>6.2844394862611387E-4</c:v>
                </c:pt>
                <c:pt idx="6">
                  <c:v>2.6732462382372179E-3</c:v>
                </c:pt>
                <c:pt idx="7">
                  <c:v>3.7911201227103842E-3</c:v>
                </c:pt>
                <c:pt idx="8">
                  <c:v>1.0389413581897154E-2</c:v>
                </c:pt>
                <c:pt idx="9">
                  <c:v>1.3664086035831182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3498174646822539</c:v>
                </c:pt>
                <c:pt idx="1">
                  <c:v>1.3713532401324471E-2</c:v>
                </c:pt>
                <c:pt idx="2">
                  <c:v>2.2658520291542115E-2</c:v>
                </c:pt>
                <c:pt idx="3">
                  <c:v>8.0089660794907716E-2</c:v>
                </c:pt>
                <c:pt idx="4">
                  <c:v>0.10126491159783732</c:v>
                </c:pt>
                <c:pt idx="5">
                  <c:v>3.3399482780282576E-2</c:v>
                </c:pt>
                <c:pt idx="6">
                  <c:v>0.10520783169738958</c:v>
                </c:pt>
                <c:pt idx="7">
                  <c:v>5.6556705689880485E-2</c:v>
                </c:pt>
                <c:pt idx="8">
                  <c:v>2.0307913215770707E-2</c:v>
                </c:pt>
                <c:pt idx="9">
                  <c:v>2.1111433725219666E-3</c:v>
                </c:pt>
                <c:pt idx="10">
                  <c:v>7.1599810827755394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9.184115747540698E-4</c:v>
                </c:pt>
                <c:pt idx="7">
                  <c:v>6.3083615613488547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2">
                  <c:v>1.5553871214572685E-2</c:v>
                </c:pt>
                <c:pt idx="4">
                  <c:v>4.7081112994448084E-3</c:v>
                </c:pt>
                <c:pt idx="5">
                  <c:v>4.3149321066300719E-2</c:v>
                </c:pt>
                <c:pt idx="6">
                  <c:v>6.8804342079096569E-3</c:v>
                </c:pt>
                <c:pt idx="7">
                  <c:v>7.451810152814653E-2</c:v>
                </c:pt>
                <c:pt idx="8">
                  <c:v>5.1765846082775806E-4</c:v>
                </c:pt>
                <c:pt idx="9">
                  <c:v>1.400497362092613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9.4194937223334076E-3</c:v>
                </c:pt>
                <c:pt idx="5">
                  <c:v>5.3249903975655238E-3</c:v>
                </c:pt>
                <c:pt idx="6">
                  <c:v>1.1429874583356632E-2</c:v>
                </c:pt>
                <c:pt idx="7">
                  <c:v>2.9575394973407994E-2</c:v>
                </c:pt>
                <c:pt idx="8">
                  <c:v>5.2069037939991084E-2</c:v>
                </c:pt>
                <c:pt idx="9">
                  <c:v>3.3952320109447091E-2</c:v>
                </c:pt>
                <c:pt idx="10">
                  <c:v>1.076985555991593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5700000000000001E-2</c:v>
                </c:pt>
                <c:pt idx="5">
                  <c:v>8.1600000000000006E-2</c:v>
                </c:pt>
                <c:pt idx="8">
                  <c:v>0.25269999999999998</c:v>
                </c:pt>
                <c:pt idx="9">
                  <c:v>0.43619999999999998</c:v>
                </c:pt>
                <c:pt idx="10">
                  <c:v>0.2036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3613092548043282</c:v>
                </c:pt>
                <c:pt idx="1">
                  <c:v>1.4367146533303746E-2</c:v>
                </c:pt>
                <c:pt idx="2">
                  <c:v>3.9194264463602392E-2</c:v>
                </c:pt>
                <c:pt idx="3">
                  <c:v>8.0547249678669858E-2</c:v>
                </c:pt>
                <c:pt idx="4">
                  <c:v>0.11596106169300623</c:v>
                </c:pt>
                <c:pt idx="5">
                  <c:v>8.3186612794555845E-2</c:v>
                </c:pt>
                <c:pt idx="6">
                  <c:v>0.12668553359098761</c:v>
                </c:pt>
                <c:pt idx="7">
                  <c:v>0.16564143875248385</c:v>
                </c:pt>
                <c:pt idx="8">
                  <c:v>8.3392584798720484E-2</c:v>
                </c:pt>
                <c:pt idx="9">
                  <c:v>3.7734852739155521E-2</c:v>
                </c:pt>
                <c:pt idx="10">
                  <c:v>1.190449633392452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4">
                  <c:v>5.6789084870195717E-4</c:v>
                </c:pt>
                <c:pt idx="5">
                  <c:v>1.8030091018509627E-3</c:v>
                </c:pt>
                <c:pt idx="8">
                  <c:v>5.5824524254138178E-3</c:v>
                </c:pt>
                <c:pt idx="9">
                  <c:v>9.636236615002524E-3</c:v>
                </c:pt>
                <c:pt idx="10">
                  <c:v>4.500144068771858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3498174646822539</c:v>
                </c:pt>
                <c:pt idx="1">
                  <c:v>1.3713532401324471E-2</c:v>
                </c:pt>
                <c:pt idx="2">
                  <c:v>2.2658520291542115E-2</c:v>
                </c:pt>
                <c:pt idx="3">
                  <c:v>8.0089660794907716E-2</c:v>
                </c:pt>
                <c:pt idx="4">
                  <c:v>0.10126491159783732</c:v>
                </c:pt>
                <c:pt idx="5">
                  <c:v>3.3399482780282576E-2</c:v>
                </c:pt>
                <c:pt idx="6">
                  <c:v>0.10520783169738958</c:v>
                </c:pt>
                <c:pt idx="7">
                  <c:v>5.6556705689880485E-2</c:v>
                </c:pt>
                <c:pt idx="8">
                  <c:v>2.0307913215770707E-2</c:v>
                </c:pt>
                <c:pt idx="9">
                  <c:v>2.1111433725219666E-3</c:v>
                </c:pt>
                <c:pt idx="10">
                  <c:v>7.1599810827755394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9.184115747540698E-4</c:v>
                </c:pt>
                <c:pt idx="7">
                  <c:v>6.3083615613488547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0">
                  <c:v>4.8686543858408132E-5</c:v>
                </c:pt>
                <c:pt idx="1">
                  <c:v>4.4981996558316053E-4</c:v>
                </c:pt>
                <c:pt idx="2">
                  <c:v>9.6376030236061075E-4</c:v>
                </c:pt>
                <c:pt idx="3">
                  <c:v>1.8040880962102128E-4</c:v>
                </c:pt>
                <c:pt idx="4">
                  <c:v>4.6461068369829703E-5</c:v>
                </c:pt>
                <c:pt idx="5">
                  <c:v>6.2844394862611387E-4</c:v>
                </c:pt>
                <c:pt idx="6">
                  <c:v>2.6732462382372179E-3</c:v>
                </c:pt>
                <c:pt idx="7">
                  <c:v>3.7911201227103842E-3</c:v>
                </c:pt>
                <c:pt idx="8">
                  <c:v>1.0389413581897154E-2</c:v>
                </c:pt>
                <c:pt idx="9">
                  <c:v>1.3664086035831182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2">
                  <c:v>1.5553871214572685E-2</c:v>
                </c:pt>
                <c:pt idx="4">
                  <c:v>1.3559714173076259E-2</c:v>
                </c:pt>
                <c:pt idx="5">
                  <c:v>4.6671302362015277E-2</c:v>
                </c:pt>
                <c:pt idx="6">
                  <c:v>1.8310308791266286E-2</c:v>
                </c:pt>
                <c:pt idx="7">
                  <c:v>0.10409349650155453</c:v>
                </c:pt>
                <c:pt idx="8">
                  <c:v>4.7004243975405022E-2</c:v>
                </c:pt>
                <c:pt idx="9">
                  <c:v>2.5716580856537181E-2</c:v>
                </c:pt>
                <c:pt idx="10">
                  <c:v>6.269711491144074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3634</c:v>
                </c:pt>
                <c:pt idx="6">
                  <c:v>0.63660000000000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3613092548043282</c:v>
                </c:pt>
                <c:pt idx="1">
                  <c:v>1.4367146533303746E-2</c:v>
                </c:pt>
                <c:pt idx="2">
                  <c:v>3.9194264463602392E-2</c:v>
                </c:pt>
                <c:pt idx="3">
                  <c:v>8.0547249678669858E-2</c:v>
                </c:pt>
                <c:pt idx="4">
                  <c:v>0.11596106169300623</c:v>
                </c:pt>
                <c:pt idx="5">
                  <c:v>8.3186612794555845E-2</c:v>
                </c:pt>
                <c:pt idx="6">
                  <c:v>0.12668553359098761</c:v>
                </c:pt>
                <c:pt idx="7">
                  <c:v>0.16564143875248385</c:v>
                </c:pt>
                <c:pt idx="8">
                  <c:v>8.3392584798720484E-2</c:v>
                </c:pt>
                <c:pt idx="9">
                  <c:v>3.7734852739155521E-2</c:v>
                </c:pt>
                <c:pt idx="10">
                  <c:v>1.190449633392452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5">
                  <c:v>4.9426834028065832E-4</c:v>
                </c:pt>
                <c:pt idx="6">
                  <c:v>8.6570917109500892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3498174646822539</c:v>
                </c:pt>
                <c:pt idx="1">
                  <c:v>1.3713532401324471E-2</c:v>
                </c:pt>
                <c:pt idx="2">
                  <c:v>2.2658520291542115E-2</c:v>
                </c:pt>
                <c:pt idx="3">
                  <c:v>8.0089660794907716E-2</c:v>
                </c:pt>
                <c:pt idx="4">
                  <c:v>0.10126491159783732</c:v>
                </c:pt>
                <c:pt idx="5">
                  <c:v>3.3399482780282576E-2</c:v>
                </c:pt>
                <c:pt idx="6">
                  <c:v>0.10520783169738958</c:v>
                </c:pt>
                <c:pt idx="7">
                  <c:v>5.6556705689880485E-2</c:v>
                </c:pt>
                <c:pt idx="8">
                  <c:v>2.0307913215770707E-2</c:v>
                </c:pt>
                <c:pt idx="9">
                  <c:v>2.1111433725219666E-3</c:v>
                </c:pt>
                <c:pt idx="10">
                  <c:v>7.1599810827755394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9.184115747540698E-4</c:v>
                </c:pt>
                <c:pt idx="7">
                  <c:v>6.3083615613488547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0">
                  <c:v>4.8686543858408132E-5</c:v>
                </c:pt>
                <c:pt idx="1">
                  <c:v>4.4981996558316053E-4</c:v>
                </c:pt>
                <c:pt idx="2">
                  <c:v>9.6376030236061075E-4</c:v>
                </c:pt>
                <c:pt idx="3">
                  <c:v>1.8040880962102128E-4</c:v>
                </c:pt>
                <c:pt idx="4">
                  <c:v>4.6461068369829703E-5</c:v>
                </c:pt>
                <c:pt idx="5">
                  <c:v>6.2844394862611387E-4</c:v>
                </c:pt>
                <c:pt idx="6">
                  <c:v>2.6732462382372179E-3</c:v>
                </c:pt>
                <c:pt idx="7">
                  <c:v>3.7911201227103842E-3</c:v>
                </c:pt>
                <c:pt idx="8">
                  <c:v>1.0389413581897154E-2</c:v>
                </c:pt>
                <c:pt idx="9">
                  <c:v>1.3664086035831182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2">
                  <c:v>1.5553871214572685E-2</c:v>
                </c:pt>
                <c:pt idx="4">
                  <c:v>1.4127605021778216E-2</c:v>
                </c:pt>
                <c:pt idx="5">
                  <c:v>4.7980043123585586E-2</c:v>
                </c:pt>
                <c:pt idx="6">
                  <c:v>1.7444599620171281E-2</c:v>
                </c:pt>
                <c:pt idx="7">
                  <c:v>0.10409349650155453</c:v>
                </c:pt>
                <c:pt idx="8">
                  <c:v>5.2586696400818839E-2</c:v>
                </c:pt>
                <c:pt idx="9">
                  <c:v>3.5352817471539705E-2</c:v>
                </c:pt>
                <c:pt idx="10">
                  <c:v>1.076985555991593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0.9839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5600000000000001E-2</c:v>
                </c:pt>
                <c:pt idx="5">
                  <c:v>8.1699999999999995E-2</c:v>
                </c:pt>
                <c:pt idx="8">
                  <c:v>0.25269999999999998</c:v>
                </c:pt>
                <c:pt idx="9">
                  <c:v>0.43619999999999998</c:v>
                </c:pt>
                <c:pt idx="10">
                  <c:v>0.2036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0552565846592252E-2</c:v>
                </c:pt>
                <c:pt idx="1">
                  <c:v>5.9340026791601969E-2</c:v>
                </c:pt>
                <c:pt idx="2">
                  <c:v>1.758865305771852E-2</c:v>
                </c:pt>
                <c:pt idx="3">
                  <c:v>8.6755769807100397E-2</c:v>
                </c:pt>
                <c:pt idx="4">
                  <c:v>9.5454453059829997E-2</c:v>
                </c:pt>
                <c:pt idx="5">
                  <c:v>0.16419185743386164</c:v>
                </c:pt>
                <c:pt idx="6">
                  <c:v>0.10109931051650932</c:v>
                </c:pt>
                <c:pt idx="7">
                  <c:v>0.23126948865365854</c:v>
                </c:pt>
                <c:pt idx="8">
                  <c:v>0.10958054110588043</c:v>
                </c:pt>
                <c:pt idx="9">
                  <c:v>4.0985066630500458E-2</c:v>
                </c:pt>
                <c:pt idx="10">
                  <c:v>1.994830878040549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4">
                  <c:v>1.7527366785341639E-3</c:v>
                </c:pt>
                <c:pt idx="5">
                  <c:v>5.5921772147627469E-3</c:v>
                </c:pt>
                <c:pt idx="8">
                  <c:v>1.7292468390680285E-2</c:v>
                </c:pt>
                <c:pt idx="9">
                  <c:v>2.9848373501383901E-2</c:v>
                </c:pt>
                <c:pt idx="10">
                  <c:v>1.394073025827634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7.0552565846592252E-2</c:v>
                </c:pt>
                <c:pt idx="1">
                  <c:v>5.9339365554137366E-2</c:v>
                </c:pt>
                <c:pt idx="2">
                  <c:v>1.7423306403741547E-2</c:v>
                </c:pt>
                <c:pt idx="3">
                  <c:v>6.7791780110840652E-2</c:v>
                </c:pt>
                <c:pt idx="4">
                  <c:v>8.2592511838207663E-2</c:v>
                </c:pt>
                <c:pt idx="5">
                  <c:v>8.8950608362953099E-2</c:v>
                </c:pt>
                <c:pt idx="6">
                  <c:v>8.3773879686804234E-2</c:v>
                </c:pt>
                <c:pt idx="7">
                  <c:v>0.10956189719240486</c:v>
                </c:pt>
                <c:pt idx="8">
                  <c:v>2.381272470312594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3">
                  <c:v>1.8960484640526343E-2</c:v>
                </c:pt>
                <c:pt idx="5">
                  <c:v>5.4662897821930276E-2</c:v>
                </c:pt>
                <c:pt idx="6">
                  <c:v>4.8275928089849002E-3</c:v>
                </c:pt>
                <c:pt idx="7">
                  <c:v>9.3008679857871826E-2</c:v>
                </c:pt>
                <c:pt idx="8">
                  <c:v>7.0121001509170107E-4</c:v>
                </c:pt>
                <c:pt idx="9">
                  <c:v>6.27181249318052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9.7755805536296186E-3</c:v>
                </c:pt>
                <c:pt idx="6">
                  <c:v>1.249014181323747E-2</c:v>
                </c:pt>
                <c:pt idx="7">
                  <c:v>1.7260226849643203E-2</c:v>
                </c:pt>
                <c:pt idx="8">
                  <c:v>3.7338235121460388E-2</c:v>
                </c:pt>
                <c:pt idx="9">
                  <c:v>1.003492484764013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1.3059912238326428E-3</c:v>
                </c:pt>
                <c:pt idx="5">
                  <c:v>1.4937167886181204E-2</c:v>
                </c:pt>
                <c:pt idx="6">
                  <c:v>3.5547728360079856E-7</c:v>
                </c:pt>
                <c:pt idx="7">
                  <c:v>1.1436651324242247E-2</c:v>
                </c:pt>
                <c:pt idx="8">
                  <c:v>3.0434495881518496E-2</c:v>
                </c:pt>
                <c:pt idx="9">
                  <c:v>5.2550977449796378E-6</c:v>
                </c:pt>
                <c:pt idx="10">
                  <c:v>5.995638959939392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8">
                  <c:v>0.9996000000000000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0552565846592252E-2</c:v>
                </c:pt>
                <c:pt idx="1">
                  <c:v>5.9340026791601969E-2</c:v>
                </c:pt>
                <c:pt idx="2">
                  <c:v>1.758865305771852E-2</c:v>
                </c:pt>
                <c:pt idx="3">
                  <c:v>8.6755769807100397E-2</c:v>
                </c:pt>
                <c:pt idx="4">
                  <c:v>9.5454453059829997E-2</c:v>
                </c:pt>
                <c:pt idx="5">
                  <c:v>0.16419185743386164</c:v>
                </c:pt>
                <c:pt idx="6">
                  <c:v>0.10109931051650932</c:v>
                </c:pt>
                <c:pt idx="7">
                  <c:v>0.23126948865365854</c:v>
                </c:pt>
                <c:pt idx="8">
                  <c:v>0.10958054110588043</c:v>
                </c:pt>
                <c:pt idx="9">
                  <c:v>4.0985066630500458E-2</c:v>
                </c:pt>
                <c:pt idx="10">
                  <c:v>1.994830878040549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7">
                  <c:v>1.658065371760368E-6</c:v>
                </c:pt>
                <c:pt idx="8">
                  <c:v>1.2276780867423089E-2</c:v>
                </c:pt>
                <c:pt idx="9">
                  <c:v>2.9084505021883517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7.0552565846592252E-2</c:v>
                </c:pt>
                <c:pt idx="1">
                  <c:v>5.9339365554137366E-2</c:v>
                </c:pt>
                <c:pt idx="2">
                  <c:v>1.7423306403741547E-2</c:v>
                </c:pt>
                <c:pt idx="3">
                  <c:v>6.7791780110840652E-2</c:v>
                </c:pt>
                <c:pt idx="4">
                  <c:v>8.2592511838207663E-2</c:v>
                </c:pt>
                <c:pt idx="5">
                  <c:v>8.8950608362953099E-2</c:v>
                </c:pt>
                <c:pt idx="6">
                  <c:v>8.3773879686804234E-2</c:v>
                </c:pt>
                <c:pt idx="7">
                  <c:v>0.10956189719240486</c:v>
                </c:pt>
                <c:pt idx="8">
                  <c:v>2.381272470312594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3">
                  <c:v>1.8960484640526343E-2</c:v>
                </c:pt>
                <c:pt idx="5">
                  <c:v>5.4662897821930276E-2</c:v>
                </c:pt>
                <c:pt idx="6">
                  <c:v>4.8275928089849002E-3</c:v>
                </c:pt>
                <c:pt idx="7">
                  <c:v>9.3008679857871826E-2</c:v>
                </c:pt>
                <c:pt idx="8">
                  <c:v>7.0121001509170107E-4</c:v>
                </c:pt>
                <c:pt idx="9">
                  <c:v>6.27181249318052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9.7755805536296186E-3</c:v>
                </c:pt>
                <c:pt idx="6">
                  <c:v>1.249014181323747E-2</c:v>
                </c:pt>
                <c:pt idx="7">
                  <c:v>1.7260226849643203E-2</c:v>
                </c:pt>
                <c:pt idx="8">
                  <c:v>3.7338235121460388E-2</c:v>
                </c:pt>
                <c:pt idx="9">
                  <c:v>1.003492484764013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3.0587279023668069E-3</c:v>
                </c:pt>
                <c:pt idx="5">
                  <c:v>2.0529345100943952E-2</c:v>
                </c:pt>
                <c:pt idx="6">
                  <c:v>3.5547728360079856E-7</c:v>
                </c:pt>
                <c:pt idx="7">
                  <c:v>1.1434993258870488E-2</c:v>
                </c:pt>
                <c:pt idx="8">
                  <c:v>3.5450183404775695E-2</c:v>
                </c:pt>
                <c:pt idx="9">
                  <c:v>2.9850720148626692E-2</c:v>
                </c:pt>
                <c:pt idx="10">
                  <c:v>1.99363692182157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0.38440000000000002</c:v>
                </c:pt>
                <c:pt idx="5">
                  <c:v>0.60199999999999998</c:v>
                </c:pt>
                <c:pt idx="6">
                  <c:v>1.1000000000000001E-3</c:v>
                </c:pt>
                <c:pt idx="8">
                  <c:v>5.4000000000000003E-3</c:v>
                </c:pt>
                <c:pt idx="9">
                  <c:v>7.1000000000000004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0552565846592252E-2</c:v>
                </c:pt>
                <c:pt idx="1">
                  <c:v>5.9340026791601969E-2</c:v>
                </c:pt>
                <c:pt idx="2">
                  <c:v>1.758865305771852E-2</c:v>
                </c:pt>
                <c:pt idx="3">
                  <c:v>8.6755769807100397E-2</c:v>
                </c:pt>
                <c:pt idx="4">
                  <c:v>9.5454453059829997E-2</c:v>
                </c:pt>
                <c:pt idx="5">
                  <c:v>0.16419185743386164</c:v>
                </c:pt>
                <c:pt idx="6">
                  <c:v>0.10109931051650932</c:v>
                </c:pt>
                <c:pt idx="7">
                  <c:v>0.23126948865365854</c:v>
                </c:pt>
                <c:pt idx="8">
                  <c:v>0.10958054110588043</c:v>
                </c:pt>
                <c:pt idx="9">
                  <c:v>4.0985066630500458E-2</c:v>
                </c:pt>
                <c:pt idx="10">
                  <c:v>1.994830878040549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4">
                  <c:v>1.2651759684519331E-4</c:v>
                </c:pt>
                <c:pt idx="5">
                  <c:v>1.9815745583883954E-4</c:v>
                </c:pt>
                <c:pt idx="6">
                  <c:v>3.5547728360079856E-7</c:v>
                </c:pt>
                <c:pt idx="8">
                  <c:v>1.7898156936543703E-6</c:v>
                </c:pt>
                <c:pt idx="9">
                  <c:v>2.3466472427912856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7.0552565846592252E-2</c:v>
                </c:pt>
                <c:pt idx="1">
                  <c:v>5.9339365554137366E-2</c:v>
                </c:pt>
                <c:pt idx="2">
                  <c:v>1.7423306403741547E-2</c:v>
                </c:pt>
                <c:pt idx="3">
                  <c:v>6.7791780110840652E-2</c:v>
                </c:pt>
                <c:pt idx="4">
                  <c:v>8.2592511838207663E-2</c:v>
                </c:pt>
                <c:pt idx="5">
                  <c:v>8.8950608362953099E-2</c:v>
                </c:pt>
                <c:pt idx="6">
                  <c:v>8.3773879686804234E-2</c:v>
                </c:pt>
                <c:pt idx="7">
                  <c:v>0.10956189719240486</c:v>
                </c:pt>
                <c:pt idx="8">
                  <c:v>2.381272470312594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3">
                  <c:v>1.8960484640526343E-2</c:v>
                </c:pt>
                <c:pt idx="5">
                  <c:v>5.4662897821930276E-2</c:v>
                </c:pt>
                <c:pt idx="6">
                  <c:v>4.8275928089849002E-3</c:v>
                </c:pt>
                <c:pt idx="7">
                  <c:v>9.3008679857871826E-2</c:v>
                </c:pt>
                <c:pt idx="8">
                  <c:v>7.0121001509170107E-4</c:v>
                </c:pt>
                <c:pt idx="9">
                  <c:v>6.27181249318052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9.7755805536296186E-3</c:v>
                </c:pt>
                <c:pt idx="6">
                  <c:v>1.249014181323747E-2</c:v>
                </c:pt>
                <c:pt idx="7">
                  <c:v>1.7260226849643203E-2</c:v>
                </c:pt>
                <c:pt idx="8">
                  <c:v>3.7338235121460388E-2</c:v>
                </c:pt>
                <c:pt idx="9">
                  <c:v>1.003492484764013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2.9322103055216134E-3</c:v>
                </c:pt>
                <c:pt idx="5">
                  <c:v>2.0331187645105112E-2</c:v>
                </c:pt>
                <c:pt idx="7">
                  <c:v>1.1436651324242247E-2</c:v>
                </c:pt>
                <c:pt idx="8">
                  <c:v>4.7725174456505128E-2</c:v>
                </c:pt>
                <c:pt idx="9">
                  <c:v>2.9851281951886088E-2</c:v>
                </c:pt>
                <c:pt idx="10">
                  <c:v>1.99363692182157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399999999999999E-2</c:v>
                </c:pt>
                <c:pt idx="1">
                  <c:v>1.0999999999999999E-2</c:v>
                </c:pt>
                <c:pt idx="2">
                  <c:v>7.2700000000000001E-2</c:v>
                </c:pt>
                <c:pt idx="3">
                  <c:v>1.55E-2</c:v>
                </c:pt>
                <c:pt idx="4">
                  <c:v>0.1333</c:v>
                </c:pt>
                <c:pt idx="5">
                  <c:v>0.1971</c:v>
                </c:pt>
                <c:pt idx="6">
                  <c:v>4.2999999999999997E-2</c:v>
                </c:pt>
                <c:pt idx="7">
                  <c:v>0.31469999999999998</c:v>
                </c:pt>
                <c:pt idx="8">
                  <c:v>0.17050000000000001</c:v>
                </c:pt>
                <c:pt idx="9">
                  <c:v>1.9E-3</c:v>
                </c:pt>
                <c:pt idx="10">
                  <c:v>6.7999999999999996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8078629530597322E-3</c:v>
                </c:pt>
                <c:pt idx="1">
                  <c:v>8.711526173735662E-2</c:v>
                </c:pt>
                <c:pt idx="2">
                  <c:v>1.5522122894181553E-2</c:v>
                </c:pt>
                <c:pt idx="3">
                  <c:v>0.16117247652052566</c:v>
                </c:pt>
                <c:pt idx="4">
                  <c:v>7.9212417385756032E-2</c:v>
                </c:pt>
                <c:pt idx="5">
                  <c:v>0.17668604946353006</c:v>
                </c:pt>
                <c:pt idx="6">
                  <c:v>0.19950185313150093</c:v>
                </c:pt>
                <c:pt idx="7">
                  <c:v>0.21909638773376211</c:v>
                </c:pt>
                <c:pt idx="8">
                  <c:v>5.783333261250854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131794812806532E-2</c:v>
                </c:pt>
                <c:pt idx="1">
                  <c:v>5.0235265459928511E-3</c:v>
                </c:pt>
                <c:pt idx="2">
                  <c:v>1.3057805980479635E-2</c:v>
                </c:pt>
                <c:pt idx="3">
                  <c:v>8.0802752356516957E-3</c:v>
                </c:pt>
                <c:pt idx="4">
                  <c:v>2.5420281073535118E-2</c:v>
                </c:pt>
                <c:pt idx="5">
                  <c:v>8.5034114307798309E-2</c:v>
                </c:pt>
                <c:pt idx="6">
                  <c:v>4.8257013828892317E-2</c:v>
                </c:pt>
                <c:pt idx="7">
                  <c:v>8.9588846210391176E-2</c:v>
                </c:pt>
                <c:pt idx="8">
                  <c:v>0.19591858637456333</c:v>
                </c:pt>
                <c:pt idx="9">
                  <c:v>8.5179094231147209E-2</c:v>
                </c:pt>
                <c:pt idx="10">
                  <c:v>8.971067298369189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0">
                  <c:v>6.0005512950486641E-3</c:v>
                </c:pt>
                <c:pt idx="1">
                  <c:v>1.9777816867075685E-3</c:v>
                </c:pt>
                <c:pt idx="2">
                  <c:v>1.3055097506692741E-2</c:v>
                </c:pt>
                <c:pt idx="3">
                  <c:v>2.7901119282352045E-3</c:v>
                </c:pt>
                <c:pt idx="4">
                  <c:v>2.3928451194154134E-2</c:v>
                </c:pt>
                <c:pt idx="5">
                  <c:v>3.5374474005369333E-2</c:v>
                </c:pt>
                <c:pt idx="6">
                  <c:v>7.715692845091722E-3</c:v>
                </c:pt>
                <c:pt idx="7">
                  <c:v>5.6477307298887475E-2</c:v>
                </c:pt>
                <c:pt idx="8">
                  <c:v>3.0606223736248578E-2</c:v>
                </c:pt>
                <c:pt idx="9">
                  <c:v>3.4308873142229298E-4</c:v>
                </c:pt>
                <c:pt idx="10">
                  <c:v>1.216574674644743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2.2131243517757866E-2</c:v>
                </c:pt>
                <c:pt idx="1">
                  <c:v>3.044183972765182E-3</c:v>
                </c:pt>
                <c:pt idx="3">
                  <c:v>5.2900563111630966E-3</c:v>
                </c:pt>
                <c:pt idx="4">
                  <c:v>1.3278759537635539E-3</c:v>
                </c:pt>
                <c:pt idx="5">
                  <c:v>4.9305986215475467E-2</c:v>
                </c:pt>
                <c:pt idx="6">
                  <c:v>3.8590632426824992E-2</c:v>
                </c:pt>
                <c:pt idx="7">
                  <c:v>3.0980045567983987E-2</c:v>
                </c:pt>
                <c:pt idx="8">
                  <c:v>0.10747227552943403</c:v>
                </c:pt>
                <c:pt idx="10">
                  <c:v>7.901547435202880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6">
                  <c:v>1.938700780663966E-3</c:v>
                </c:pt>
                <c:pt idx="8">
                  <c:v>3.4141950595071621E-2</c:v>
                </c:pt>
                <c:pt idx="9">
                  <c:v>6.4201412986648013E-2</c:v>
                </c:pt>
                <c:pt idx="10">
                  <c:v>6.716826174583260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7">
                  <c:v>7.877840422195971E-4</c:v>
                </c:pt>
                <c:pt idx="8">
                  <c:v>5.2343888878776694E-3</c:v>
                </c:pt>
                <c:pt idx="9">
                  <c:v>5.1781801894280133E-3</c:v>
                </c:pt>
                <c:pt idx="10">
                  <c:v>5.882977098328910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7">
                  <c:v>1.0984109495484468E-3</c:v>
                </c:pt>
                <c:pt idx="8">
                  <c:v>1.7979100753303133E-2</c:v>
                </c:pt>
                <c:pt idx="9">
                  <c:v>1.522313531566089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9">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131794812806532E-2</c:v>
                </c:pt>
                <c:pt idx="1">
                  <c:v>5.0235265459928511E-3</c:v>
                </c:pt>
                <c:pt idx="2">
                  <c:v>1.3057805980479635E-2</c:v>
                </c:pt>
                <c:pt idx="3">
                  <c:v>8.0802752356516957E-3</c:v>
                </c:pt>
                <c:pt idx="4">
                  <c:v>2.5420281073535118E-2</c:v>
                </c:pt>
                <c:pt idx="5">
                  <c:v>8.5034114307798309E-2</c:v>
                </c:pt>
                <c:pt idx="6">
                  <c:v>4.8257013828892317E-2</c:v>
                </c:pt>
                <c:pt idx="7">
                  <c:v>8.9588846210391176E-2</c:v>
                </c:pt>
                <c:pt idx="8">
                  <c:v>0.19591858637456333</c:v>
                </c:pt>
                <c:pt idx="9">
                  <c:v>8.5179094231147209E-2</c:v>
                </c:pt>
                <c:pt idx="10">
                  <c:v>8.971067298369189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9">
                  <c:v>1.522313531566089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chick</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6.0005512950486641E-3</c:v>
                </c:pt>
                <c:pt idx="1">
                  <c:v>1.9777816867075685E-3</c:v>
                </c:pt>
                <c:pt idx="2">
                  <c:v>1.3055097506692741E-2</c:v>
                </c:pt>
                <c:pt idx="3">
                  <c:v>2.7901119282352045E-3</c:v>
                </c:pt>
                <c:pt idx="4">
                  <c:v>2.3928451194154134E-2</c:v>
                </c:pt>
                <c:pt idx="5">
                  <c:v>3.5374474005369333E-2</c:v>
                </c:pt>
                <c:pt idx="6">
                  <c:v>7.715692845091722E-3</c:v>
                </c:pt>
                <c:pt idx="7">
                  <c:v>5.6477307298887475E-2</c:v>
                </c:pt>
                <c:pt idx="8">
                  <c:v>3.0606223736248578E-2</c:v>
                </c:pt>
                <c:pt idx="9">
                  <c:v>3.4308873142229298E-4</c:v>
                </c:pt>
                <c:pt idx="10">
                  <c:v>1.216574674644743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2.2131243517757866E-2</c:v>
                </c:pt>
                <c:pt idx="1">
                  <c:v>3.044183972765182E-3</c:v>
                </c:pt>
                <c:pt idx="3">
                  <c:v>5.2900563111630966E-3</c:v>
                </c:pt>
                <c:pt idx="4">
                  <c:v>1.3278759537635539E-3</c:v>
                </c:pt>
                <c:pt idx="5">
                  <c:v>4.9305986215475467E-2</c:v>
                </c:pt>
                <c:pt idx="6">
                  <c:v>3.8590632426824992E-2</c:v>
                </c:pt>
                <c:pt idx="7">
                  <c:v>3.0980045567983987E-2</c:v>
                </c:pt>
                <c:pt idx="8">
                  <c:v>0.10747227552943403</c:v>
                </c:pt>
                <c:pt idx="10">
                  <c:v>7.901547435202880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6">
                  <c:v>1.938700780663966E-3</c:v>
                </c:pt>
                <c:pt idx="8">
                  <c:v>3.4141950595071621E-2</c:v>
                </c:pt>
                <c:pt idx="9">
                  <c:v>6.4201412986648013E-2</c:v>
                </c:pt>
                <c:pt idx="10">
                  <c:v>6.716826174583260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7">
                  <c:v>1.8861949917680439E-3</c:v>
                </c:pt>
                <c:pt idx="8">
                  <c:v>2.3213489641180803E-2</c:v>
                </c:pt>
                <c:pt idx="9">
                  <c:v>5.1781801894280133E-3</c:v>
                </c:pt>
                <c:pt idx="10">
                  <c:v>5.882977098328910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2200000000000001E-2</c:v>
                </c:pt>
                <c:pt idx="3">
                  <c:v>0.2107</c:v>
                </c:pt>
                <c:pt idx="4">
                  <c:v>0.7670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0163682596745286</c:v>
                </c:pt>
                <c:pt idx="2">
                  <c:v>5.1883445011185136E-2</c:v>
                </c:pt>
                <c:pt idx="3">
                  <c:v>0.11679803088166528</c:v>
                </c:pt>
                <c:pt idx="4">
                  <c:v>0.3000210041677005</c:v>
                </c:pt>
                <c:pt idx="5">
                  <c:v>2.571144943383436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4.351408183015452E-5</c:v>
                </c:pt>
                <c:pt idx="2">
                  <c:v>8.662386742745113E-3</c:v>
                </c:pt>
                <c:pt idx="3">
                  <c:v>8.2376899674072232E-2</c:v>
                </c:pt>
                <c:pt idx="4">
                  <c:v>0.2998791854071016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0163682596745286</c:v>
                </c:pt>
                <c:pt idx="2">
                  <c:v>4.3221058268440027E-2</c:v>
                </c:pt>
                <c:pt idx="3">
                  <c:v>3.442113120759304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5">
                  <c:v>2.571144943383436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11E-2</c:v>
                </c:pt>
                <c:pt idx="2">
                  <c:v>0.1075</c:v>
                </c:pt>
                <c:pt idx="5">
                  <c:v>0.1207</c:v>
                </c:pt>
                <c:pt idx="6">
                  <c:v>0.18720000000000001</c:v>
                </c:pt>
                <c:pt idx="7">
                  <c:v>0.41339999999999999</c:v>
                </c:pt>
                <c:pt idx="8">
                  <c:v>0.160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8.655412162173878E-3</c:v>
                </c:pt>
                <c:pt idx="2">
                  <c:v>2.0825852312784936E-2</c:v>
                </c:pt>
                <c:pt idx="4">
                  <c:v>4.0217656111900934E-3</c:v>
                </c:pt>
                <c:pt idx="5">
                  <c:v>6.6133237052712734E-2</c:v>
                </c:pt>
                <c:pt idx="6">
                  <c:v>0.10785989272480505</c:v>
                </c:pt>
                <c:pt idx="7">
                  <c:v>8.0128828630379498E-2</c:v>
                </c:pt>
                <c:pt idx="8">
                  <c:v>0.17928542661337526</c:v>
                </c:pt>
                <c:pt idx="9">
                  <c:v>0.1349815249954588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0">
                  <c:v>2.2524933698018488E-3</c:v>
                </c:pt>
                <c:pt idx="1">
                  <c:v>9.7779442670631279E-4</c:v>
                </c:pt>
                <c:pt idx="2">
                  <c:v>4.8179428248746742E-3</c:v>
                </c:pt>
                <c:pt idx="3">
                  <c:v>1.0335500556801699E-3</c:v>
                </c:pt>
                <c:pt idx="4">
                  <c:v>7.7094087495108068E-3</c:v>
                </c:pt>
                <c:pt idx="5">
                  <c:v>1.3042547202400709E-2</c:v>
                </c:pt>
                <c:pt idx="6">
                  <c:v>5.9468205484922371E-3</c:v>
                </c:pt>
                <c:pt idx="7">
                  <c:v>2.1934607046087226E-2</c:v>
                </c:pt>
                <c:pt idx="8">
                  <c:v>1.791208310772497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0186550876647086</c:v>
                </c:pt>
                <c:pt idx="1">
                  <c:v>1.2309363981922705E-2</c:v>
                </c:pt>
                <c:pt idx="2">
                  <c:v>1.8469185089462294E-2</c:v>
                </c:pt>
                <c:pt idx="3">
                  <c:v>6.691343801468097E-2</c:v>
                </c:pt>
                <c:pt idx="4">
                  <c:v>8.2952644153203706E-2</c:v>
                </c:pt>
                <c:pt idx="5">
                  <c:v>4.2441430178880114E-2</c:v>
                </c:pt>
                <c:pt idx="6">
                  <c:v>9.7661800196153892E-2</c:v>
                </c:pt>
                <c:pt idx="7">
                  <c:v>5.6173338647347706E-2</c:v>
                </c:pt>
                <c:pt idx="8">
                  <c:v>4.970521261066959E-2</c:v>
                </c:pt>
                <c:pt idx="9">
                  <c:v>1.721754842547292E-3</c:v>
                </c:pt>
                <c:pt idx="10">
                  <c:v>8.2735376205324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2">
                  <c:v>1.2678038160748631E-2</c:v>
                </c:pt>
                <c:pt idx="4">
                  <c:v>3.8379784626581203E-3</c:v>
                </c:pt>
                <c:pt idx="5">
                  <c:v>3.5171776042681326E-2</c:v>
                </c:pt>
                <c:pt idx="6">
                  <c:v>5.6116447895533123E-3</c:v>
                </c:pt>
                <c:pt idx="7">
                  <c:v>6.0740076975514402E-2</c:v>
                </c:pt>
                <c:pt idx="9">
                  <c:v>1.141552399122506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Universal Beauty Prods In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4.1244895509845707E-3</c:v>
                </c:pt>
                <c:pt idx="9">
                  <c:v>1.1148530673567682E-3</c:v>
                </c:pt>
                <c:pt idx="10">
                  <c:v>1.732367011499555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3.9787977639855849E-3</c:v>
                </c:pt>
                <c:pt idx="5">
                  <c:v>4.1840809114732499E-3</c:v>
                </c:pt>
                <c:pt idx="6">
                  <c:v>8.6224558729279342E-3</c:v>
                </c:pt>
                <c:pt idx="7">
                  <c:v>2.4750470812583806E-2</c:v>
                </c:pt>
                <c:pt idx="8">
                  <c:v>6.0154427366211391E-2</c:v>
                </c:pt>
                <c:pt idx="9">
                  <c:v>5.2773454179296179E-2</c:v>
                </c:pt>
                <c:pt idx="10">
                  <c:v>8.986471776835067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7">
                  <c:v>5.141095637446016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3.8078629530597322E-3</c:v>
                </c:pt>
                <c:pt idx="1">
                  <c:v>8.711526173735662E-2</c:v>
                </c:pt>
                <c:pt idx="2">
                  <c:v>1.5522122894181553E-2</c:v>
                </c:pt>
                <c:pt idx="3">
                  <c:v>0.16117119539075311</c:v>
                </c:pt>
                <c:pt idx="4">
                  <c:v>7.8649147329087926E-2</c:v>
                </c:pt>
                <c:pt idx="5">
                  <c:v>6.7327067560823767E-2</c:v>
                </c:pt>
                <c:pt idx="6">
                  <c:v>0.18184530443405011</c:v>
                </c:pt>
                <c:pt idx="7">
                  <c:v>5.294841204782433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Universal Beauty Prods In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5">
                  <c:v>2.97784168848615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5">
                  <c:v>7.9229644492484888E-2</c:v>
                </c:pt>
                <c:pt idx="6">
                  <c:v>1.7645291110300478E-2</c:v>
                </c:pt>
                <c:pt idx="7">
                  <c:v>0.1053179805891212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7">
                  <c:v>9.4167944737476878E-3</c:v>
                </c:pt>
                <c:pt idx="8">
                  <c:v>5.773260491989450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2.1430574817043442E-3</c:v>
                </c:pt>
                <c:pt idx="2">
                  <c:v>2.0825690387758691E-2</c:v>
                </c:pt>
                <c:pt idx="5">
                  <c:v>2.338602191521642E-2</c:v>
                </c:pt>
                <c:pt idx="6">
                  <c:v>3.6249453950016969E-2</c:v>
                </c:pt>
                <c:pt idx="7">
                  <c:v>8.0068889383165032E-2</c:v>
                </c:pt>
                <c:pt idx="8">
                  <c:v>3.100431103117682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1">
                  <c:v>6.5123546804695337E-3</c:v>
                </c:pt>
                <c:pt idx="4">
                  <c:v>4.0217656111900934E-3</c:v>
                </c:pt>
                <c:pt idx="5">
                  <c:v>4.2699892548576646E-2</c:v>
                </c:pt>
                <c:pt idx="6">
                  <c:v>6.9075205626398087E-2</c:v>
                </c:pt>
                <c:pt idx="8">
                  <c:v>0.1038519379689783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6">
                  <c:v>2.5343223201173704E-3</c:v>
                </c:pt>
                <c:pt idx="8">
                  <c:v>2.7927067591817206E-2</c:v>
                </c:pt>
                <c:pt idx="9">
                  <c:v>8.32043853507157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fort 3</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8">
                  <c:v>1.6501995324509324E-2</c:v>
                </c:pt>
                <c:pt idx="9">
                  <c:v>3.30508544503639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9">
                  <c:v>4.84645854078712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9">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8.655412162173878E-3</c:v>
                </c:pt>
                <c:pt idx="2">
                  <c:v>2.0825852312784936E-2</c:v>
                </c:pt>
                <c:pt idx="4">
                  <c:v>4.0217656111900934E-3</c:v>
                </c:pt>
                <c:pt idx="5">
                  <c:v>6.6133237052712734E-2</c:v>
                </c:pt>
                <c:pt idx="6">
                  <c:v>0.10785989272480505</c:v>
                </c:pt>
                <c:pt idx="7">
                  <c:v>8.0128828630379498E-2</c:v>
                </c:pt>
                <c:pt idx="8">
                  <c:v>0.17928542661337526</c:v>
                </c:pt>
                <c:pt idx="9">
                  <c:v>0.1349815249954588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9">
                  <c:v>4.846458540787122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1">
                  <c:v>6.5123546804695337E-3</c:v>
                </c:pt>
                <c:pt idx="4">
                  <c:v>4.0217656111900934E-3</c:v>
                </c:pt>
                <c:pt idx="5">
                  <c:v>4.2699892548576646E-2</c:v>
                </c:pt>
                <c:pt idx="6">
                  <c:v>6.9075205626398087E-2</c:v>
                </c:pt>
                <c:pt idx="8">
                  <c:v>0.1038519379689783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1">
                  <c:v>2.1430574817043442E-3</c:v>
                </c:pt>
                <c:pt idx="2">
                  <c:v>2.0825690387758691E-2</c:v>
                </c:pt>
                <c:pt idx="5">
                  <c:v>2.338602191521642E-2</c:v>
                </c:pt>
                <c:pt idx="6">
                  <c:v>3.6249453950016969E-2</c:v>
                </c:pt>
                <c:pt idx="7">
                  <c:v>8.0068889383165032E-2</c:v>
                </c:pt>
                <c:pt idx="8">
                  <c:v>3.100431103117682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6">
                  <c:v>2.5343223201173704E-3</c:v>
                </c:pt>
                <c:pt idx="8">
                  <c:v>2.7927067591817206E-2</c:v>
                </c:pt>
                <c:pt idx="9">
                  <c:v>8.32043853507157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8">
                  <c:v>1.6501995324509324E-2</c:v>
                </c:pt>
                <c:pt idx="9">
                  <c:v>3.3050854450363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137</c:v>
                </c:pt>
                <c:pt idx="3">
                  <c:v>2.3E-3</c:v>
                </c:pt>
                <c:pt idx="4">
                  <c:v>7.6100000000000001E-2</c:v>
                </c:pt>
                <c:pt idx="5">
                  <c:v>0.3498</c:v>
                </c:pt>
                <c:pt idx="6">
                  <c:v>2.6200000000000001E-2</c:v>
                </c:pt>
                <c:pt idx="7">
                  <c:v>0.4314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9.1157310095052346E-2</c:v>
                </c:pt>
                <c:pt idx="3">
                  <c:v>1.8190238421762408E-3</c:v>
                </c:pt>
                <c:pt idx="4">
                  <c:v>6.1035710267252193E-2</c:v>
                </c:pt>
                <c:pt idx="5">
                  <c:v>0.28048010488535502</c:v>
                </c:pt>
                <c:pt idx="6">
                  <c:v>2.1040667535275691E-2</c:v>
                </c:pt>
                <c:pt idx="7">
                  <c:v>0.3459636586594829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0">
                  <c:v>9.1157310095052346E-2</c:v>
                </c:pt>
                <c:pt idx="1">
                  <c:v>2.6580088415484288E-4</c:v>
                </c:pt>
                <c:pt idx="3">
                  <c:v>1.8190238421762408E-3</c:v>
                </c:pt>
                <c:pt idx="4">
                  <c:v>6.1035710267252193E-2</c:v>
                </c:pt>
                <c:pt idx="5">
                  <c:v>0.28048010488535502</c:v>
                </c:pt>
                <c:pt idx="6">
                  <c:v>2.1040667535275691E-2</c:v>
                </c:pt>
                <c:pt idx="7">
                  <c:v>0.3459636586594829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9800000000000002E-2</c:v>
                </c:pt>
                <c:pt idx="3">
                  <c:v>3.4200000000000001E-2</c:v>
                </c:pt>
                <c:pt idx="5">
                  <c:v>0.14349999999999999</c:v>
                </c:pt>
                <c:pt idx="6">
                  <c:v>4.0800000000000003E-2</c:v>
                </c:pt>
                <c:pt idx="7">
                  <c:v>0.76160000000000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2.132508135653080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5.5499028766996575E-5</c:v>
                </c:pt>
                <c:pt idx="3">
                  <c:v>9.5861958779357728E-5</c:v>
                </c:pt>
                <c:pt idx="5">
                  <c:v>4.0194751137309642E-4</c:v>
                </c:pt>
                <c:pt idx="6">
                  <c:v>1.1436163503502325E-4</c:v>
                </c:pt>
                <c:pt idx="7">
                  <c:v>2.132508135653080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88E-2</c:v>
                </c:pt>
                <c:pt idx="1">
                  <c:v>3.0499999999999999E-2</c:v>
                </c:pt>
                <c:pt idx="2">
                  <c:v>0.23960000000000001</c:v>
                </c:pt>
                <c:pt idx="3">
                  <c:v>2.5999999999999999E-2</c:v>
                </c:pt>
                <c:pt idx="4">
                  <c:v>1.2500000000000001E-2</c:v>
                </c:pt>
                <c:pt idx="5">
                  <c:v>0.46250000000000002</c:v>
                </c:pt>
                <c:pt idx="6">
                  <c:v>0.1451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99939999999999996</c:v>
                </c:pt>
                <c:pt idx="7">
                  <c:v>5.9999999999999995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73785447834915185</c:v>
                </c:pt>
                <c:pt idx="1">
                  <c:v>5.1541517649481075E-2</c:v>
                </c:pt>
                <c:pt idx="2">
                  <c:v>1.4324020611338453E-3</c:v>
                </c:pt>
                <c:pt idx="3">
                  <c:v>1.0835302705636785E-3</c:v>
                </c:pt>
                <c:pt idx="4">
                  <c:v>2.21108112473631E-3</c:v>
                </c:pt>
                <c:pt idx="5">
                  <c:v>2.602569692902703E-2</c:v>
                </c:pt>
                <c:pt idx="6">
                  <c:v>1.7518112563751857E-2</c:v>
                </c:pt>
                <c:pt idx="7">
                  <c:v>8.1620054530064674E-3</c:v>
                </c:pt>
                <c:pt idx="8">
                  <c:v>2.6140254432040887E-3</c:v>
                </c:pt>
                <c:pt idx="9">
                  <c:v>2.116107582146915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5">
                  <c:v>1.1281574370176366E-2</c:v>
                </c:pt>
                <c:pt idx="7">
                  <c:v>7.2789941400630985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56471563049607387</c:v>
                </c:pt>
                <c:pt idx="1">
                  <c:v>4.2503086640134156E-2</c:v>
                </c:pt>
                <c:pt idx="5">
                  <c:v>2.1046691627839586E-3</c:v>
                </c:pt>
                <c:pt idx="6">
                  <c:v>6.0658284500525819E-4</c:v>
                </c:pt>
                <c:pt idx="7">
                  <c:v>8.1143453723274829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0.17313884785307801</c:v>
                </c:pt>
                <c:pt idx="1">
                  <c:v>9.00844848586523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rem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2">
                  <c:v>1.4067522722593373E-3</c:v>
                </c:pt>
                <c:pt idx="3">
                  <c:v>1.0034613350229843E-4</c:v>
                </c:pt>
                <c:pt idx="5">
                  <c:v>4.4238953433154921E-3</c:v>
                </c:pt>
                <c:pt idx="6">
                  <c:v>3.6394970700315492E-6</c:v>
                </c:pt>
                <c:pt idx="7">
                  <c:v>7.3432919216336557E-3</c:v>
                </c:pt>
                <c:pt idx="8">
                  <c:v>2.7434875532666395E-4</c:v>
                </c:pt>
                <c:pt idx="9">
                  <c:v>4.471382114610189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3">
                  <c:v>9.3379096253952323E-4</c:v>
                </c:pt>
                <c:pt idx="4">
                  <c:v>1.7102170041462536E-3</c:v>
                </c:pt>
                <c:pt idx="5">
                  <c:v>8.0373960057039586E-3</c:v>
                </c:pt>
                <c:pt idx="6">
                  <c:v>1.6860056831613297E-2</c:v>
                </c:pt>
                <c:pt idx="8">
                  <c:v>2.0195742550989356E-3</c:v>
                </c:pt>
                <c:pt idx="9">
                  <c:v>1.642453034889951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0349999999999999</c:v>
                </c:pt>
                <c:pt idx="3">
                  <c:v>7.4000000000000003E-3</c:v>
                </c:pt>
                <c:pt idx="5">
                  <c:v>0.32540000000000002</c:v>
                </c:pt>
                <c:pt idx="7">
                  <c:v>0.54010000000000002</c:v>
                </c:pt>
                <c:pt idx="8">
                  <c:v>2.0199999999999999E-2</c:v>
                </c:pt>
                <c:pt idx="9">
                  <c:v>3.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73785447834915185</c:v>
                </c:pt>
                <c:pt idx="1">
                  <c:v>5.1541517649481075E-2</c:v>
                </c:pt>
                <c:pt idx="2">
                  <c:v>1.4324020611338453E-3</c:v>
                </c:pt>
                <c:pt idx="3">
                  <c:v>1.0835302705636785E-3</c:v>
                </c:pt>
                <c:pt idx="4">
                  <c:v>2.21108112473631E-3</c:v>
                </c:pt>
                <c:pt idx="5">
                  <c:v>2.602569692902703E-2</c:v>
                </c:pt>
                <c:pt idx="6">
                  <c:v>1.7518112563751857E-2</c:v>
                </c:pt>
                <c:pt idx="7">
                  <c:v>8.1620054530064674E-3</c:v>
                </c:pt>
                <c:pt idx="8">
                  <c:v>2.6140254432040887E-3</c:v>
                </c:pt>
                <c:pt idx="9">
                  <c:v>2.116107582146915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1.4067522722593373E-3</c:v>
                </c:pt>
                <c:pt idx="3">
                  <c:v>1.0034613350229843E-4</c:v>
                </c:pt>
                <c:pt idx="5">
                  <c:v>4.4238953433154921E-3</c:v>
                </c:pt>
                <c:pt idx="6">
                  <c:v>3.6394970700315492E-6</c:v>
                </c:pt>
                <c:pt idx="7">
                  <c:v>7.3432919216336557E-3</c:v>
                </c:pt>
                <c:pt idx="8">
                  <c:v>2.7434875532666395E-4</c:v>
                </c:pt>
                <c:pt idx="9">
                  <c:v>4.471382114610189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56471563049607387</c:v>
                </c:pt>
                <c:pt idx="1">
                  <c:v>4.2503086640134156E-2</c:v>
                </c:pt>
                <c:pt idx="5">
                  <c:v>2.1046691627839586E-3</c:v>
                </c:pt>
                <c:pt idx="6">
                  <c:v>6.0658284500525819E-4</c:v>
                </c:pt>
                <c:pt idx="7">
                  <c:v>8.1143453723274829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0.17313884785307801</c:v>
                </c:pt>
                <c:pt idx="1">
                  <c:v>9.00844848586523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Van Der Hage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3">
                  <c:v>9.3379096253952323E-4</c:v>
                </c:pt>
                <c:pt idx="4">
                  <c:v>1.710217004146253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5">
                  <c:v>1.9318970375880325E-2</c:v>
                </c:pt>
                <c:pt idx="6">
                  <c:v>1.6860056831613297E-2</c:v>
                </c:pt>
                <c:pt idx="7">
                  <c:v>7.2789941400630985E-6</c:v>
                </c:pt>
                <c:pt idx="8">
                  <c:v>2.0195742550989356E-3</c:v>
                </c:pt>
                <c:pt idx="9">
                  <c:v>1.642453034889951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4582</c:v>
                </c:pt>
                <c:pt idx="7">
                  <c:v>0.4849</c:v>
                </c:pt>
                <c:pt idx="8">
                  <c:v>5.68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9986681320318903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3.1899634900529021E-4</c:v>
                </c:pt>
                <c:pt idx="7">
                  <c:v>3.3762387303479621E-4</c:v>
                </c:pt>
                <c:pt idx="8">
                  <c:v>3.9583488562700248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9986681320318903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numCache>
            </c:numRef>
          </c:val>
          <c:extLst>
            <c:ext xmlns:c16="http://schemas.microsoft.com/office/drawing/2014/chart" uri="{C3380CC4-5D6E-409C-BE32-E72D297353CC}">
              <c16:uniqueId val="{00000006-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36330000000000001</c:v>
                </c:pt>
                <c:pt idx="6">
                  <c:v>4.3799999999999999E-2</c:v>
                </c:pt>
                <c:pt idx="7">
                  <c:v>3.5499999999999997E-2</c:v>
                </c:pt>
                <c:pt idx="8">
                  <c:v>6.4699999999999994E-2</c:v>
                </c:pt>
                <c:pt idx="9">
                  <c:v>0.4927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38884991678725317</c:v>
                </c:pt>
                <c:pt idx="1">
                  <c:v>1.6720302811374405E-2</c:v>
                </c:pt>
                <c:pt idx="2">
                  <c:v>6.3513169623176297E-2</c:v>
                </c:pt>
                <c:pt idx="3">
                  <c:v>9.3178130587054195E-2</c:v>
                </c:pt>
                <c:pt idx="4">
                  <c:v>0.12295245418285258</c:v>
                </c:pt>
                <c:pt idx="5">
                  <c:v>9.4261497962098456E-2</c:v>
                </c:pt>
                <c:pt idx="6">
                  <c:v>8.2065990268195027E-2</c:v>
                </c:pt>
                <c:pt idx="7">
                  <c:v>0.11611454147200323</c:v>
                </c:pt>
                <c:pt idx="8">
                  <c:v>1.3036568854015473E-2</c:v>
                </c:pt>
                <c:pt idx="9">
                  <c:v>5.0436397346530094E-3</c:v>
                </c:pt>
                <c:pt idx="10">
                  <c:v>4.263787717324140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622626204605346E-2</c:v>
                </c:pt>
                <c:pt idx="1">
                  <c:v>0.97760200576735734</c:v>
                </c:pt>
                <c:pt idx="5">
                  <c:v>1.8076357327765208E-3</c:v>
                </c:pt>
                <c:pt idx="9">
                  <c:v>1.012974613536600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5">
                  <c:v>1.6882910225610016E-4</c:v>
                </c:pt>
                <c:pt idx="6">
                  <c:v>2.0375926134356915E-5</c:v>
                </c:pt>
                <c:pt idx="7">
                  <c:v>1.649479734686036E-5</c:v>
                </c:pt>
                <c:pt idx="8">
                  <c:v>3.0078748103098304E-5</c:v>
                </c:pt>
                <c:pt idx="9">
                  <c:v>2.2898659846229676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1.8622626204605346E-2</c:v>
                </c:pt>
                <c:pt idx="1">
                  <c:v>0.97760200576735734</c:v>
                </c:pt>
                <c:pt idx="5">
                  <c:v>6.5688104728379201E-4</c:v>
                </c:pt>
                <c:pt idx="9">
                  <c:v>7.8010688628680764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5">
                  <c:v>8.227993029492697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6">
                  <c:v>1.3583950756237945E-5</c:v>
                </c:pt>
                <c:pt idx="7">
                  <c:v>4.0751852268713831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25</c:v>
                </c:pt>
                <c:pt idx="7">
                  <c:v>0.7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622626204605346E-2</c:v>
                </c:pt>
                <c:pt idx="1">
                  <c:v>0.97760200576735734</c:v>
                </c:pt>
                <c:pt idx="5">
                  <c:v>1.8076357327765208E-3</c:v>
                </c:pt>
                <c:pt idx="9">
                  <c:v>1.012974613536600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6">
                  <c:v>1.3583950756237945E-5</c:v>
                </c:pt>
                <c:pt idx="7">
                  <c:v>4.0751852268713831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1.8622626204605346E-2</c:v>
                </c:pt>
                <c:pt idx="1">
                  <c:v>0.97760200576735734</c:v>
                </c:pt>
                <c:pt idx="5">
                  <c:v>6.5688104728379201E-4</c:v>
                </c:pt>
                <c:pt idx="9">
                  <c:v>7.8010688628680764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5">
                  <c:v>8.227993029492697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rem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5">
                  <c:v>1.6882910225610016E-4</c:v>
                </c:pt>
                <c:pt idx="6">
                  <c:v>2.0375926134356915E-5</c:v>
                </c:pt>
                <c:pt idx="7">
                  <c:v>1.649479734686036E-5</c:v>
                </c:pt>
                <c:pt idx="8">
                  <c:v>3.0078748103098304E-5</c:v>
                </c:pt>
                <c:pt idx="9">
                  <c:v>2.289865984622967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0">
                  <c:v>3.0592267027922397E-3</c:v>
                </c:pt>
                <c:pt idx="1">
                  <c:v>1.3589634077937499E-3</c:v>
                </c:pt>
                <c:pt idx="2">
                  <c:v>1.0662046695607332E-2</c:v>
                </c:pt>
                <c:pt idx="3">
                  <c:v>1.1551770890270117E-3</c:v>
                </c:pt>
                <c:pt idx="4">
                  <c:v>5.5425947098465371E-4</c:v>
                </c:pt>
                <c:pt idx="5">
                  <c:v>2.0577405252921906E-2</c:v>
                </c:pt>
                <c:pt idx="6">
                  <c:v>6.455357016026553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38553013287926741</c:v>
                </c:pt>
                <c:pt idx="1">
                  <c:v>1.499358079175688E-2</c:v>
                </c:pt>
                <c:pt idx="2">
                  <c:v>2.7430950295927979E-2</c:v>
                </c:pt>
                <c:pt idx="3">
                  <c:v>9.2022166018751933E-2</c:v>
                </c:pt>
                <c:pt idx="4">
                  <c:v>0.1211874598019153</c:v>
                </c:pt>
                <c:pt idx="5">
                  <c:v>1.4701624298035509E-2</c:v>
                </c:pt>
                <c:pt idx="6">
                  <c:v>7.3463827228517742E-2</c:v>
                </c:pt>
                <c:pt idx="7">
                  <c:v>1.2054512714331322E-3</c:v>
                </c:pt>
                <c:pt idx="8">
                  <c:v>9.34587352196057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2">
                  <c:v>2.5417639380296023E-2</c:v>
                </c:pt>
                <c:pt idx="5">
                  <c:v>4.9580472515097965E-2</c:v>
                </c:pt>
                <c:pt idx="7">
                  <c:v>9.426468551607651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1.1908148689480102E-3</c:v>
                </c:pt>
                <c:pt idx="5">
                  <c:v>3.8381291127597959E-3</c:v>
                </c:pt>
                <c:pt idx="6">
                  <c:v>1.9826643646466443E-3</c:v>
                </c:pt>
                <c:pt idx="7">
                  <c:v>2.0758938044302257E-3</c:v>
                </c:pt>
                <c:pt idx="8">
                  <c:v>9.976821025232268E-3</c:v>
                </c:pt>
                <c:pt idx="9">
                  <c:v>1.938073350686433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5">
                  <c:v>5.5201949776682389E-3</c:v>
                </c:pt>
                <c:pt idx="7">
                  <c:v>1.8116306696548165E-2</c:v>
                </c:pt>
                <c:pt idx="8">
                  <c:v>2.0850468034326413E-3</c:v>
                </c:pt>
                <c:pt idx="9">
                  <c:v>2.4937022249695664E-3</c:v>
                </c:pt>
                <c:pt idx="10">
                  <c:v>3.874956797026830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56E-2</c:v>
                </c:pt>
                <c:pt idx="2">
                  <c:v>0.34570000000000001</c:v>
                </c:pt>
                <c:pt idx="6">
                  <c:v>0.60170000000000001</c:v>
                </c:pt>
                <c:pt idx="7">
                  <c:v>1.15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4558135791158011</c:v>
                </c:pt>
                <c:pt idx="1">
                  <c:v>8.6227047736811696E-2</c:v>
                </c:pt>
                <c:pt idx="2">
                  <c:v>4.3982542278881924E-2</c:v>
                </c:pt>
                <c:pt idx="3">
                  <c:v>8.9281972562848422E-2</c:v>
                </c:pt>
                <c:pt idx="4">
                  <c:v>8.6015367767062784E-2</c:v>
                </c:pt>
                <c:pt idx="5">
                  <c:v>0.22008154238952654</c:v>
                </c:pt>
                <c:pt idx="6">
                  <c:v>5.4565801990903003E-2</c:v>
                </c:pt>
                <c:pt idx="7">
                  <c:v>0.21956568464527132</c:v>
                </c:pt>
                <c:pt idx="8">
                  <c:v>4.1164972469923997E-2</c:v>
                </c:pt>
                <c:pt idx="9">
                  <c:v>9.8538074250852981E-4</c:v>
                </c:pt>
                <c:pt idx="10">
                  <c:v>1.254832950468172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1.6527238673320203E-3</c:v>
                </c:pt>
                <c:pt idx="2">
                  <c:v>1.6059083970395769E-2</c:v>
                </c:pt>
                <c:pt idx="6">
                  <c:v>2.7953919788145012E-2</c:v>
                </c:pt>
                <c:pt idx="7">
                  <c:v>5.3245417809160746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14558135791158011</c:v>
                </c:pt>
                <c:pt idx="1">
                  <c:v>8.457293996621934E-2</c:v>
                </c:pt>
                <c:pt idx="2">
                  <c:v>2.7577404453745107E-2</c:v>
                </c:pt>
                <c:pt idx="3">
                  <c:v>4.9595258501865309E-2</c:v>
                </c:pt>
                <c:pt idx="4">
                  <c:v>7.9878453961755275E-2</c:v>
                </c:pt>
                <c:pt idx="5">
                  <c:v>0.12532312645368698</c:v>
                </c:pt>
                <c:pt idx="6">
                  <c:v>2.6603266624565833E-2</c:v>
                </c:pt>
                <c:pt idx="7">
                  <c:v>7.796717950635723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3">
                  <c:v>3.9682380258667854E-2</c:v>
                </c:pt>
                <c:pt idx="5">
                  <c:v>6.9041575768024555E-2</c:v>
                </c:pt>
                <c:pt idx="7">
                  <c:v>0.1343528767163255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Unilever</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2.4685192313674349E-3</c:v>
                </c:pt>
                <c:pt idx="5">
                  <c:v>1.3796407342393437E-2</c:v>
                </c:pt>
                <c:pt idx="7">
                  <c:v>6.7103544115378784E-3</c:v>
                </c:pt>
                <c:pt idx="8">
                  <c:v>1.72938742557507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3.6683009263510252E-3</c:v>
                </c:pt>
                <c:pt idx="5">
                  <c:v>1.1703862370466981E-2</c:v>
                </c:pt>
                <c:pt idx="8">
                  <c:v>2.383839439502115E-2</c:v>
                </c:pt>
                <c:pt idx="9">
                  <c:v>9.6521529500080499E-4</c:v>
                </c:pt>
                <c:pt idx="10">
                  <c:v>1.254826707295569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307</c:v>
                </c:pt>
                <c:pt idx="8">
                  <c:v>0.1234</c:v>
                </c:pt>
                <c:pt idx="9">
                  <c:v>0.56910000000000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700778759286381E-2</c:v>
                </c:pt>
                <c:pt idx="3">
                  <c:v>2.9843247325667061E-3</c:v>
                </c:pt>
                <c:pt idx="4">
                  <c:v>3.4220573898453441E-2</c:v>
                </c:pt>
                <c:pt idx="5">
                  <c:v>2.2152289172894832E-3</c:v>
                </c:pt>
                <c:pt idx="6">
                  <c:v>5.0427569966264615E-2</c:v>
                </c:pt>
                <c:pt idx="7">
                  <c:v>2.02083030730789E-3</c:v>
                </c:pt>
                <c:pt idx="8">
                  <c:v>1.0125843830224343E-3</c:v>
                </c:pt>
                <c:pt idx="9">
                  <c:v>0.82191423259321206</c:v>
                </c:pt>
                <c:pt idx="10">
                  <c:v>2.299900179790484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5">
                  <c:v>2.2080972042971899E-3</c:v>
                </c:pt>
                <c:pt idx="8">
                  <c:v>8.8789826754050757E-4</c:v>
                </c:pt>
                <c:pt idx="9">
                  <c:v>4.093900412284328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Universal Beauty Prods In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3">
                  <c:v>2.9843247325667061E-3</c:v>
                </c:pt>
                <c:pt idx="4">
                  <c:v>3.422057389845344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6">
                  <c:v>1.2735753630695653E-2</c:v>
                </c:pt>
                <c:pt idx="9">
                  <c:v>0.8157759672207453</c:v>
                </c:pt>
                <c:pt idx="10">
                  <c:v>2.332723888837514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octer &amp; Gamb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6">
                  <c:v>3.7691816335568964E-2</c:v>
                </c:pt>
                <c:pt idx="7">
                  <c:v>2.0208303073078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2200000000000001E-2</c:v>
                </c:pt>
                <c:pt idx="3">
                  <c:v>0.2107</c:v>
                </c:pt>
                <c:pt idx="4">
                  <c:v>0.7670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8">
                  <c:v>0.97460000000000002</c:v>
                </c:pt>
                <c:pt idx="10">
                  <c:v>1.9199999999999998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6996880054999391</c:v>
                </c:pt>
                <c:pt idx="1">
                  <c:v>1.9411054426960676E-2</c:v>
                </c:pt>
                <c:pt idx="2">
                  <c:v>1.5694931682120109E-2</c:v>
                </c:pt>
                <c:pt idx="3">
                  <c:v>5.9115464853648849E-4</c:v>
                </c:pt>
                <c:pt idx="4">
                  <c:v>0.10298803218556715</c:v>
                </c:pt>
                <c:pt idx="5">
                  <c:v>0.11887879051284113</c:v>
                </c:pt>
                <c:pt idx="6">
                  <c:v>0.10974180907813862</c:v>
                </c:pt>
                <c:pt idx="7">
                  <c:v>0.2233258270239358</c:v>
                </c:pt>
                <c:pt idx="8">
                  <c:v>0.11635216843904812</c:v>
                </c:pt>
                <c:pt idx="9">
                  <c:v>6.3053532365605874E-2</c:v>
                </c:pt>
                <c:pt idx="10">
                  <c:v>5.999389908725215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8">
                  <c:v>5.9159146523587829E-2</c:v>
                </c:pt>
                <c:pt idx="10">
                  <c:v>1.1647408099661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16973141112187573</c:v>
                </c:pt>
                <c:pt idx="1">
                  <c:v>1.9407379713885755E-2</c:v>
                </c:pt>
                <c:pt idx="2">
                  <c:v>1.5688678742936172E-2</c:v>
                </c:pt>
                <c:pt idx="4">
                  <c:v>7.3736757987451912E-2</c:v>
                </c:pt>
                <c:pt idx="5">
                  <c:v>0.11881358411228318</c:v>
                </c:pt>
                <c:pt idx="6">
                  <c:v>0.10781209573988784</c:v>
                </c:pt>
                <c:pt idx="7">
                  <c:v>0.22068723486222816</c:v>
                </c:pt>
                <c:pt idx="8">
                  <c:v>3.7221529292399871E-2</c:v>
                </c:pt>
                <c:pt idx="9">
                  <c:v>4.4327658814073186E-3</c:v>
                </c:pt>
                <c:pt idx="10">
                  <c:v>4.192556209786741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Universal Beauty Prods In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4">
                  <c:v>2.8585044766327686E-2</c:v>
                </c:pt>
                <c:pt idx="9">
                  <c:v>8.5085363510643466E-3</c:v>
                </c:pt>
                <c:pt idx="10">
                  <c:v>1.322139044356389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6">
                  <c:v>1.7886171979130377E-3</c:v>
                </c:pt>
                <c:pt idx="7">
                  <c:v>1.9637933385423709E-3</c:v>
                </c:pt>
                <c:pt idx="8">
                  <c:v>1.5236772999938997E-3</c:v>
                </c:pt>
                <c:pt idx="9">
                  <c:v>1.2032556555130745E-2</c:v>
                </c:pt>
                <c:pt idx="10">
                  <c:v>3.071763782805352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8">
                  <c:v>1.8447005305668288E-2</c:v>
                </c:pt>
                <c:pt idx="9">
                  <c:v>3.7662005887473163E-2</c:v>
                </c:pt>
                <c:pt idx="10">
                  <c:v>3.784558842817442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8">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425669992622063E-3</c:v>
                </c:pt>
                <c:pt idx="1">
                  <c:v>1.4680136324937587E-2</c:v>
                </c:pt>
                <c:pt idx="2">
                  <c:v>1.8745097160087751E-2</c:v>
                </c:pt>
                <c:pt idx="4">
                  <c:v>0.1403537014927112</c:v>
                </c:pt>
                <c:pt idx="5">
                  <c:v>0.11732886490854123</c:v>
                </c:pt>
                <c:pt idx="6">
                  <c:v>0.15268108301152919</c:v>
                </c:pt>
                <c:pt idx="7">
                  <c:v>0.29713416284022282</c:v>
                </c:pt>
                <c:pt idx="8">
                  <c:v>8.7282569187503489E-2</c:v>
                </c:pt>
                <c:pt idx="9">
                  <c:v>4.6174735081439218E-2</c:v>
                </c:pt>
                <c:pt idx="10">
                  <c:v>0.1219715317839536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8">
                  <c:v>7.508943569336351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3.6425669992622063E-3</c:v>
                </c:pt>
                <c:pt idx="1">
                  <c:v>1.4680136324937587E-2</c:v>
                </c:pt>
                <c:pt idx="2">
                  <c:v>1.8745097160087751E-2</c:v>
                </c:pt>
                <c:pt idx="4">
                  <c:v>0.14018573557172512</c:v>
                </c:pt>
                <c:pt idx="5">
                  <c:v>6.748452159209975E-2</c:v>
                </c:pt>
                <c:pt idx="6">
                  <c:v>0.15268108301152919</c:v>
                </c:pt>
                <c:pt idx="7">
                  <c:v>0.29713416284022282</c:v>
                </c:pt>
                <c:pt idx="8">
                  <c:v>7.307354046565038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Universal Beauty Prods In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5">
                  <c:v>4.9844343316441483E-2</c:v>
                </c:pt>
                <c:pt idx="9">
                  <c:v>2.8215962988973942E-3</c:v>
                </c:pt>
                <c:pt idx="10">
                  <c:v>3.668212067712653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8">
                  <c:v>4.8857794475749301E-3</c:v>
                </c:pt>
                <c:pt idx="9">
                  <c:v>4.335294106821976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10">
                  <c:v>8.528913734853504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2.3800000000000002E-2</c:v>
                </c:pt>
                <c:pt idx="4">
                  <c:v>0.21709999999999999</c:v>
                </c:pt>
                <c:pt idx="5">
                  <c:v>0.1003</c:v>
                </c:pt>
                <c:pt idx="6">
                  <c:v>6.3E-2</c:v>
                </c:pt>
                <c:pt idx="7">
                  <c:v>0.30549999999999999</c:v>
                </c:pt>
                <c:pt idx="8">
                  <c:v>0.27850000000000003</c:v>
                </c:pt>
                <c:pt idx="10">
                  <c:v>8.8000000000000005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3955831365356308</c:v>
                </c:pt>
                <c:pt idx="1">
                  <c:v>1.5867690938937612E-2</c:v>
                </c:pt>
                <c:pt idx="3">
                  <c:v>7.0780488761040899E-2</c:v>
                </c:pt>
                <c:pt idx="4">
                  <c:v>6.6102400114816051E-2</c:v>
                </c:pt>
                <c:pt idx="5">
                  <c:v>5.3226312163371231E-2</c:v>
                </c:pt>
                <c:pt idx="6">
                  <c:v>0.18118895204105848</c:v>
                </c:pt>
                <c:pt idx="7">
                  <c:v>0.11946606539180803</c:v>
                </c:pt>
                <c:pt idx="8">
                  <c:v>0.22939411679242686</c:v>
                </c:pt>
                <c:pt idx="9">
                  <c:v>0.10879962889515504</c:v>
                </c:pt>
                <c:pt idx="10">
                  <c:v>1.54930056331437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3">
                  <c:v>2.9214170946508184E-3</c:v>
                </c:pt>
                <c:pt idx="4">
                  <c:v>2.6641682650507748E-2</c:v>
                </c:pt>
                <c:pt idx="5">
                  <c:v>1.2301941709315209E-2</c:v>
                </c:pt>
                <c:pt idx="6">
                  <c:v>7.7331850763960389E-3</c:v>
                </c:pt>
                <c:pt idx="7">
                  <c:v>3.7487234092400616E-2</c:v>
                </c:pt>
                <c:pt idx="8">
                  <c:v>3.4168985337506223E-2</c:v>
                </c:pt>
                <c:pt idx="10">
                  <c:v>1.081572997822394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13955831365356308</c:v>
                </c:pt>
                <c:pt idx="1">
                  <c:v>1.5854598244181031E-2</c:v>
                </c:pt>
                <c:pt idx="3">
                  <c:v>6.7858864294694857E-2</c:v>
                </c:pt>
                <c:pt idx="4">
                  <c:v>3.9133541485185996E-2</c:v>
                </c:pt>
                <c:pt idx="5">
                  <c:v>4.0508142470820838E-2</c:v>
                </c:pt>
                <c:pt idx="6">
                  <c:v>0.16639642442936411</c:v>
                </c:pt>
                <c:pt idx="7">
                  <c:v>7.1606518561456334E-2</c:v>
                </c:pt>
                <c:pt idx="8">
                  <c:v>0.16297622892130934</c:v>
                </c:pt>
                <c:pt idx="9">
                  <c:v>4.1336483994338542E-3</c:v>
                </c:pt>
                <c:pt idx="10">
                  <c:v>8.8755321198937746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6">
                  <c:v>6.1721899277201713E-3</c:v>
                </c:pt>
                <c:pt idx="7">
                  <c:v>8.3383310304628033E-3</c:v>
                </c:pt>
                <c:pt idx="8">
                  <c:v>1.9026503851168091E-2</c:v>
                </c:pt>
                <c:pt idx="9">
                  <c:v>5.4777869543418567E-2</c:v>
                </c:pt>
                <c:pt idx="10">
                  <c:v>5.5403825718398827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6">
                  <c:v>8.8286849687489201E-4</c:v>
                </c:pt>
                <c:pt idx="7">
                  <c:v>2.0148445991156607E-3</c:v>
                </c:pt>
                <c:pt idx="8">
                  <c:v>1.0817834329631005E-2</c:v>
                </c:pt>
                <c:pt idx="9">
                  <c:v>4.0589700815947767E-2</c:v>
                </c:pt>
                <c:pt idx="10">
                  <c:v>6.9882328958140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8">
                  <c:v>2.3065364533919317E-3</c:v>
                </c:pt>
                <c:pt idx="9">
                  <c:v>8.8577146495815891E-3</c:v>
                </c:pt>
                <c:pt idx="10">
                  <c:v>5.740906288113532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2200000000000001E-2</c:v>
                </c:pt>
                <c:pt idx="3">
                  <c:v>0.2107</c:v>
                </c:pt>
                <c:pt idx="4">
                  <c:v>0.7670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85894299766184268</c:v>
                </c:pt>
                <c:pt idx="2">
                  <c:v>2.9669487465912234E-2</c:v>
                </c:pt>
                <c:pt idx="3">
                  <c:v>2.9102711281740891E-2</c:v>
                </c:pt>
                <c:pt idx="4">
                  <c:v>8.0974768431621824E-2</c:v>
                </c:pt>
                <c:pt idx="5">
                  <c:v>1.293077737727301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57238894075549762</c:v>
                </c:pt>
                <c:pt idx="2">
                  <c:v>4.6986191607977706E-2</c:v>
                </c:pt>
                <c:pt idx="3">
                  <c:v>0.10571885602875664</c:v>
                </c:pt>
                <c:pt idx="4">
                  <c:v>0.272534244351468</c:v>
                </c:pt>
                <c:pt idx="5">
                  <c:v>2.32845580966439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7.8447482272868182E-3</c:v>
                </c:pt>
                <c:pt idx="3">
                  <c:v>7.4601383761673634E-2</c:v>
                </c:pt>
                <c:pt idx="4">
                  <c:v>0.2715737334277775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57238894075549762</c:v>
                </c:pt>
                <c:pt idx="2">
                  <c:v>3.9141443380690887E-2</c:v>
                </c:pt>
                <c:pt idx="3">
                  <c:v>3.111747226708300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4">
                  <c:v>9.60510923690487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5">
                  <c:v>2.328455809664393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2409</c:v>
                </c:pt>
                <c:pt idx="7">
                  <c:v>0.43990000000000001</c:v>
                </c:pt>
                <c:pt idx="8">
                  <c:v>0.319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0719500588937391E-2</c:v>
                </c:pt>
                <c:pt idx="1">
                  <c:v>2.068634147270253E-2</c:v>
                </c:pt>
                <c:pt idx="3">
                  <c:v>7.673890553981802E-2</c:v>
                </c:pt>
                <c:pt idx="4">
                  <c:v>6.1463854556086439E-2</c:v>
                </c:pt>
                <c:pt idx="5">
                  <c:v>7.1684587232366967E-2</c:v>
                </c:pt>
                <c:pt idx="6">
                  <c:v>0.12221069826912168</c:v>
                </c:pt>
                <c:pt idx="7">
                  <c:v>0.22847733691779296</c:v>
                </c:pt>
                <c:pt idx="8">
                  <c:v>0.23770246609344772</c:v>
                </c:pt>
                <c:pt idx="9">
                  <c:v>0.140080492594041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5">
                  <c:v>2.5550560133485053E-2</c:v>
                </c:pt>
                <c:pt idx="7">
                  <c:v>4.6656780856018362E-2</c:v>
                </c:pt>
                <c:pt idx="8">
                  <c:v>3.384131220989560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4.071931630528286E-2</c:v>
                </c:pt>
                <c:pt idx="1">
                  <c:v>2.068634147270253E-2</c:v>
                </c:pt>
                <c:pt idx="3">
                  <c:v>7.6738470630393324E-2</c:v>
                </c:pt>
                <c:pt idx="4">
                  <c:v>6.1463854556086439E-2</c:v>
                </c:pt>
                <c:pt idx="5">
                  <c:v>4.6134027098881911E-2</c:v>
                </c:pt>
                <c:pt idx="6">
                  <c:v>0.12220927559930869</c:v>
                </c:pt>
                <c:pt idx="7">
                  <c:v>0.15339285631489702</c:v>
                </c:pt>
                <c:pt idx="8">
                  <c:v>0.1804826272444910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7">
                  <c:v>2.8427699746877554E-2</c:v>
                </c:pt>
                <c:pt idx="8">
                  <c:v>2.1317159164856259E-2</c:v>
                </c:pt>
                <c:pt idx="9">
                  <c:v>6.129205796198598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8">
                  <c:v>2.060821994587353E-3</c:v>
                </c:pt>
                <c:pt idx="9">
                  <c:v>1.839187728955394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9">
                  <c:v>7.69376886322880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9.8799999999999999E-2</c:v>
                </c:pt>
                <c:pt idx="5">
                  <c:v>4.7699999999999999E-2</c:v>
                </c:pt>
                <c:pt idx="6">
                  <c:v>0.60309999999999997</c:v>
                </c:pt>
                <c:pt idx="7">
                  <c:v>4.3900000000000002E-2</c:v>
                </c:pt>
                <c:pt idx="8">
                  <c:v>0.18729999999999999</c:v>
                </c:pt>
                <c:pt idx="9">
                  <c:v>1.8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403119612816912E-2</c:v>
                </c:pt>
                <c:pt idx="5">
                  <c:v>1.7788861158589363E-2</c:v>
                </c:pt>
                <c:pt idx="6">
                  <c:v>9.8849375360401767E-2</c:v>
                </c:pt>
                <c:pt idx="7">
                  <c:v>6.0669721034118926E-2</c:v>
                </c:pt>
                <c:pt idx="8">
                  <c:v>0.76630890516643924</c:v>
                </c:pt>
                <c:pt idx="9">
                  <c:v>3.9427347394469715E-2</c:v>
                </c:pt>
                <c:pt idx="10">
                  <c:v>2.39998248704651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1.4334221346691068E-2</c:v>
                </c:pt>
                <c:pt idx="5">
                  <c:v>6.9189536954101507E-3</c:v>
                </c:pt>
                <c:pt idx="6">
                  <c:v>8.7489760624404958E-2</c:v>
                </c:pt>
                <c:pt idx="7">
                  <c:v>6.3681608213470315E-3</c:v>
                </c:pt>
                <c:pt idx="8">
                  <c:v>2.7174834200438636E-2</c:v>
                </c:pt>
                <c:pt idx="9">
                  <c:v>2.655624417409186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Unilever</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5">
                  <c:v>4.7574934401798273E-3</c:v>
                </c:pt>
                <c:pt idx="6">
                  <c:v>6.0204710171761966E-4</c:v>
                </c:pt>
                <c:pt idx="7">
                  <c:v>5.1372780911509902E-2</c:v>
                </c:pt>
                <c:pt idx="8">
                  <c:v>3.194016652249503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5">
                  <c:v>6.1119683340632586E-3</c:v>
                </c:pt>
                <c:pt idx="6">
                  <c:v>1.0757279247320525E-2</c:v>
                </c:pt>
                <c:pt idx="7">
                  <c:v>2.9287793012619944E-3</c:v>
                </c:pt>
                <c:pt idx="8">
                  <c:v>0.70719390444350561</c:v>
                </c:pt>
                <c:pt idx="9">
                  <c:v>4.398058421692257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9">
                  <c:v>1.0178434187277704E-2</c:v>
                </c:pt>
                <c:pt idx="10">
                  <c:v>2.392510643117337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9">
                  <c:v>2.219499441512437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2900000000000006E-2</c:v>
                </c:pt>
                <c:pt idx="1">
                  <c:v>2.01E-2</c:v>
                </c:pt>
                <c:pt idx="2">
                  <c:v>0.15459999999999999</c:v>
                </c:pt>
                <c:pt idx="4">
                  <c:v>1.1299999999999999E-2</c:v>
                </c:pt>
                <c:pt idx="5">
                  <c:v>0.30430000000000001</c:v>
                </c:pt>
                <c:pt idx="6">
                  <c:v>5.3699999999999998E-2</c:v>
                </c:pt>
                <c:pt idx="7">
                  <c:v>0.371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6233944627430822</c:v>
                </c:pt>
                <c:pt idx="1">
                  <c:v>1.1224144351217878E-2</c:v>
                </c:pt>
                <c:pt idx="2">
                  <c:v>6.3326196708289539E-2</c:v>
                </c:pt>
                <c:pt idx="3">
                  <c:v>9.0850220481340685E-2</c:v>
                </c:pt>
                <c:pt idx="4">
                  <c:v>0.1319380568567291</c:v>
                </c:pt>
                <c:pt idx="5">
                  <c:v>0.11616983669613584</c:v>
                </c:pt>
                <c:pt idx="6">
                  <c:v>9.550725889878274E-2</c:v>
                </c:pt>
                <c:pt idx="7">
                  <c:v>0.15820972133230723</c:v>
                </c:pt>
                <c:pt idx="8">
                  <c:v>5.6322390410819503E-2</c:v>
                </c:pt>
                <c:pt idx="9">
                  <c:v>1.41041537577120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2.1594928759245823E-3</c:v>
                </c:pt>
                <c:pt idx="3">
                  <c:v>2.0525412968159733E-2</c:v>
                </c:pt>
                <c:pt idx="4">
                  <c:v>7.471929807250811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85894299766184268</c:v>
                </c:pt>
                <c:pt idx="2">
                  <c:v>1.0769160691778822E-2</c:v>
                </c:pt>
                <c:pt idx="3">
                  <c:v>8.576529775487876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2">
                  <c:v>1.67408338982088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5.4134418436399163E-3</c:v>
                </c:pt>
                <c:pt idx="5">
                  <c:v>1.293077737727301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8.066922908836358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0">
                  <c:v>4.2103146212829129E-3</c:v>
                </c:pt>
                <c:pt idx="1">
                  <c:v>1.159585087234921E-3</c:v>
                </c:pt>
                <c:pt idx="2">
                  <c:v>8.9314190545076149E-3</c:v>
                </c:pt>
                <c:pt idx="4">
                  <c:v>6.502868143022139E-4</c:v>
                </c:pt>
                <c:pt idx="5">
                  <c:v>1.7582358613699774E-2</c:v>
                </c:pt>
                <c:pt idx="6">
                  <c:v>3.1051531674775425E-3</c:v>
                </c:pt>
                <c:pt idx="7">
                  <c:v>2.146214190021888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5812913165302531</c:v>
                </c:pt>
                <c:pt idx="1">
                  <c:v>9.7572369052355886E-3</c:v>
                </c:pt>
                <c:pt idx="2">
                  <c:v>3.0676641268265418E-2</c:v>
                </c:pt>
                <c:pt idx="3">
                  <c:v>9.0200263910468703E-2</c:v>
                </c:pt>
                <c:pt idx="4">
                  <c:v>0.11690767551962004</c:v>
                </c:pt>
                <c:pt idx="5">
                  <c:v>2.943543887612959E-2</c:v>
                </c:pt>
                <c:pt idx="6">
                  <c:v>6.9957504142332261E-2</c:v>
                </c:pt>
                <c:pt idx="7">
                  <c:v>1.318871050132071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2">
                  <c:v>2.3697925003712969E-2</c:v>
                </c:pt>
                <c:pt idx="4">
                  <c:v>7.1739905355015163E-3</c:v>
                </c:pt>
                <c:pt idx="5">
                  <c:v>6.5743443133124663E-2</c:v>
                </c:pt>
                <c:pt idx="6">
                  <c:v>1.0489346670530798E-2</c:v>
                </c:pt>
                <c:pt idx="7">
                  <c:v>0.1135360038071140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1.4010656157102969E-3</c:v>
                </c:pt>
                <c:pt idx="5">
                  <c:v>3.1890386278058858E-3</c:v>
                </c:pt>
                <c:pt idx="6">
                  <c:v>1.2224172264650674E-3</c:v>
                </c:pt>
                <c:pt idx="7">
                  <c:v>1.7304925099913002E-3</c:v>
                </c:pt>
                <c:pt idx="8">
                  <c:v>1.8211442106224857E-2</c:v>
                </c:pt>
                <c:pt idx="9">
                  <c:v>1.352692090309965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5.7887257977609196E-3</c:v>
                </c:pt>
                <c:pt idx="6">
                  <c:v>1.0484528503561472E-2</c:v>
                </c:pt>
                <c:pt idx="7">
                  <c:v>8.118022227741736E-3</c:v>
                </c:pt>
                <c:pt idx="8">
                  <c:v>3.78008896431396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1999999999999999E-2</c:v>
                </c:pt>
                <c:pt idx="2">
                  <c:v>0.2135</c:v>
                </c:pt>
                <c:pt idx="6">
                  <c:v>0.37169999999999997</c:v>
                </c:pt>
                <c:pt idx="7">
                  <c:v>0.3831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8.646254253035332E-2</c:v>
                </c:pt>
                <c:pt idx="1">
                  <c:v>8.1735915822093608E-2</c:v>
                </c:pt>
                <c:pt idx="2">
                  <c:v>3.41275660848364E-2</c:v>
                </c:pt>
                <c:pt idx="3">
                  <c:v>9.3610854036570171E-2</c:v>
                </c:pt>
                <c:pt idx="4">
                  <c:v>8.0098916011707155E-2</c:v>
                </c:pt>
                <c:pt idx="5">
                  <c:v>0.21316193566114447</c:v>
                </c:pt>
                <c:pt idx="6">
                  <c:v>0.11338277199671763</c:v>
                </c:pt>
                <c:pt idx="7">
                  <c:v>0.19894561829978635</c:v>
                </c:pt>
                <c:pt idx="8">
                  <c:v>6.4971140213984049E-2</c:v>
                </c:pt>
                <c:pt idx="9">
                  <c:v>3.348661934420703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1.2143324532165778E-3</c:v>
                </c:pt>
                <c:pt idx="2">
                  <c:v>1.1799349679424757E-2</c:v>
                </c:pt>
                <c:pt idx="6">
                  <c:v>2.0539263532577318E-2</c:v>
                </c:pt>
                <c:pt idx="7">
                  <c:v>2.117555431914108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8.646254253035332E-2</c:v>
                </c:pt>
                <c:pt idx="1">
                  <c:v>8.0521583368877034E-2</c:v>
                </c:pt>
                <c:pt idx="2">
                  <c:v>2.2079833870665984E-2</c:v>
                </c:pt>
                <c:pt idx="3">
                  <c:v>6.445109919678714E-2</c:v>
                </c:pt>
                <c:pt idx="4">
                  <c:v>6.2176700039345105E-2</c:v>
                </c:pt>
                <c:pt idx="5">
                  <c:v>0.12009321357653728</c:v>
                </c:pt>
                <c:pt idx="6">
                  <c:v>6.6205782259935037E-2</c:v>
                </c:pt>
                <c:pt idx="7">
                  <c:v>1.425112998342331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3">
                  <c:v>2.9156475029776221E-2</c:v>
                </c:pt>
                <c:pt idx="5">
                  <c:v>8.4061025888102311E-2</c:v>
                </c:pt>
                <c:pt idx="6">
                  <c:v>7.4236282382910716E-3</c:v>
                </c:pt>
                <c:pt idx="7">
                  <c:v>0.1430240472879184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1.5032393723958934E-2</c:v>
                </c:pt>
                <c:pt idx="6">
                  <c:v>1.9206708836842942E-2</c:v>
                </c:pt>
                <c:pt idx="7">
                  <c:v>2.0491943290066639E-2</c:v>
                </c:pt>
                <c:pt idx="8">
                  <c:v>3.83204859008708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2.6952698820907157E-3</c:v>
                </c:pt>
                <c:pt idx="5">
                  <c:v>8.5993674959031711E-3</c:v>
                </c:pt>
                <c:pt idx="8">
                  <c:v>2.6591334858934283E-2</c:v>
                </c:pt>
                <c:pt idx="9">
                  <c:v>3.345992597208876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7.8299999999999995E-2</c:v>
                </c:pt>
                <c:pt idx="5">
                  <c:v>0.8738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57255520158151496</c:v>
                </c:pt>
                <c:pt idx="1">
                  <c:v>3.4393370386308429E-2</c:v>
                </c:pt>
                <c:pt idx="2">
                  <c:v>9.5583399320380642E-4</c:v>
                </c:pt>
                <c:pt idx="3">
                  <c:v>1.0104200361308719E-3</c:v>
                </c:pt>
                <c:pt idx="4">
                  <c:v>1.1502389469334614E-3</c:v>
                </c:pt>
                <c:pt idx="5">
                  <c:v>1.6072814080516033E-2</c:v>
                </c:pt>
                <c:pt idx="6">
                  <c:v>1.1319665003604183E-2</c:v>
                </c:pt>
                <c:pt idx="7">
                  <c:v>0.17731061736698903</c:v>
                </c:pt>
                <c:pt idx="8">
                  <c:v>9.4348274450759745E-2</c:v>
                </c:pt>
                <c:pt idx="9">
                  <c:v>8.4835962580342386E-2</c:v>
                </c:pt>
                <c:pt idx="10">
                  <c:v>6.04760157369711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9.3871803059108246E-4</c:v>
                </c:pt>
                <c:pt idx="5">
                  <c:v>1.047126837031402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57255520158151496</c:v>
                </c:pt>
                <c:pt idx="1">
                  <c:v>3.4373363213794909E-2</c:v>
                </c:pt>
                <c:pt idx="7">
                  <c:v>9.1891671222249741E-2</c:v>
                </c:pt>
                <c:pt idx="10">
                  <c:v>6.047601573697113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Universal Beauty Prods In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3">
                  <c:v>9.2125512279026271E-4</c:v>
                </c:pt>
                <c:pt idx="4">
                  <c:v>1.147463385428695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Unilever</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7">
                  <c:v>8.529150161231210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8">
                  <c:v>9.4090609824400637E-2</c:v>
                </c:pt>
                <c:pt idx="9">
                  <c:v>8.46549728405524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4582</c:v>
                </c:pt>
                <c:pt idx="7">
                  <c:v>0.4849</c:v>
                </c:pt>
                <c:pt idx="8">
                  <c:v>5.68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45819397993311034</c:v>
                </c:pt>
                <c:pt idx="7">
                  <c:v>0.48494983277591974</c:v>
                </c:pt>
                <c:pt idx="8">
                  <c:v>5.685618729096989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0.45819397993311034</c:v>
                </c:pt>
                <c:pt idx="7">
                  <c:v>0.48494983277591974</c:v>
                </c:pt>
                <c:pt idx="8">
                  <c:v>5.685618729096989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9.4000000000000004E-3</c:v>
                </c:pt>
                <c:pt idx="2">
                  <c:v>9.1399999999999995E-2</c:v>
                </c:pt>
                <c:pt idx="5">
                  <c:v>0.105</c:v>
                </c:pt>
                <c:pt idx="6">
                  <c:v>0.159</c:v>
                </c:pt>
                <c:pt idx="7">
                  <c:v>0.3513</c:v>
                </c:pt>
                <c:pt idx="8">
                  <c:v>0.2822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4.4499999999999998E-2</c:v>
                </c:pt>
                <c:pt idx="5">
                  <c:v>5.4399999999999997E-2</c:v>
                </c:pt>
                <c:pt idx="6">
                  <c:v>0.1973</c:v>
                </c:pt>
                <c:pt idx="7">
                  <c:v>0.1757</c:v>
                </c:pt>
                <c:pt idx="8">
                  <c:v>0.4802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361309254804328</c:v>
                </c:pt>
                <c:pt idx="1">
                  <c:v>1.4367146533303746E-2</c:v>
                </c:pt>
                <c:pt idx="2">
                  <c:v>3.9194264463602392E-2</c:v>
                </c:pt>
                <c:pt idx="3">
                  <c:v>8.0547249678669872E-2</c:v>
                </c:pt>
                <c:pt idx="4">
                  <c:v>0.11596106169300624</c:v>
                </c:pt>
                <c:pt idx="5">
                  <c:v>8.3186612794555845E-2</c:v>
                </c:pt>
                <c:pt idx="6">
                  <c:v>0.12668553359098761</c:v>
                </c:pt>
                <c:pt idx="7">
                  <c:v>0.16564143875248388</c:v>
                </c:pt>
                <c:pt idx="8">
                  <c:v>8.339258479872047E-2</c:v>
                </c:pt>
                <c:pt idx="9">
                  <c:v>3.7734852739155535E-2</c:v>
                </c:pt>
                <c:pt idx="10">
                  <c:v>1.190449633392452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9.6376030236061075E-4</c:v>
                </c:pt>
                <c:pt idx="5">
                  <c:v>1.1762364432367852E-3</c:v>
                </c:pt>
                <c:pt idx="6">
                  <c:v>4.2688415009298711E-3</c:v>
                </c:pt>
                <c:pt idx="7">
                  <c:v>3.8003808954891138E-3</c:v>
                </c:pt>
                <c:pt idx="8">
                  <c:v>1.038941358189715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3590015804297945</c:v>
                </c:pt>
                <c:pt idx="1">
                  <c:v>1.3713532401324471E-2</c:v>
                </c:pt>
                <c:pt idx="2">
                  <c:v>2.2658520291542115E-2</c:v>
                </c:pt>
                <c:pt idx="3">
                  <c:v>8.0089660794907716E-2</c:v>
                </c:pt>
                <c:pt idx="4">
                  <c:v>0.10126491159783732</c:v>
                </c:pt>
                <c:pt idx="5">
                  <c:v>3.3399482780282576E-2</c:v>
                </c:pt>
                <c:pt idx="6">
                  <c:v>0.10520783169738958</c:v>
                </c:pt>
                <c:pt idx="7">
                  <c:v>5.718754184601537E-2</c:v>
                </c:pt>
                <c:pt idx="8">
                  <c:v>2.0307913215770707E-2</c:v>
                </c:pt>
                <c:pt idx="9">
                  <c:v>2.1111433725219666E-3</c:v>
                </c:pt>
                <c:pt idx="10">
                  <c:v>7.1599810827755394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2">
                  <c:v>1.5553871214572685E-2</c:v>
                </c:pt>
                <c:pt idx="4">
                  <c:v>4.7081112994448084E-3</c:v>
                </c:pt>
                <c:pt idx="5">
                  <c:v>4.3149321066300719E-2</c:v>
                </c:pt>
                <c:pt idx="6">
                  <c:v>6.8804342079096569E-3</c:v>
                </c:pt>
                <c:pt idx="7">
                  <c:v>7.451810152814653E-2</c:v>
                </c:pt>
                <c:pt idx="8">
                  <c:v>5.1765846082775806E-4</c:v>
                </c:pt>
                <c:pt idx="9">
                  <c:v>1.400497362092613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1.0201371621599289E-3</c:v>
                </c:pt>
                <c:pt idx="5">
                  <c:v>2.1052982242711943E-3</c:v>
                </c:pt>
                <c:pt idx="6">
                  <c:v>1.1005202570190606E-3</c:v>
                </c:pt>
                <c:pt idx="7">
                  <c:v>1.5421632079547472E-3</c:v>
                </c:pt>
                <c:pt idx="8">
                  <c:v>1.4424361816976037E-2</c:v>
                </c:pt>
                <c:pt idx="9">
                  <c:v>1.8043217592270837E-2</c:v>
                </c:pt>
                <c:pt idx="10">
                  <c:v>6.313600122630924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8.8516028736314502E-3</c:v>
                </c:pt>
                <c:pt idx="5">
                  <c:v>3.0277129554339022E-3</c:v>
                </c:pt>
                <c:pt idx="6">
                  <c:v>8.7441155039849148E-3</c:v>
                </c:pt>
                <c:pt idx="7">
                  <c:v>2.8034110681388266E-2</c:v>
                </c:pt>
                <c:pt idx="8">
                  <c:v>3.7647431965120236E-2</c:v>
                </c:pt>
                <c:pt idx="9">
                  <c:v>1.5964663184038629E-2</c:v>
                </c:pt>
                <c:pt idx="10">
                  <c:v>4.456520620593315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8">
                  <c:v>0.9736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0552565846592252E-2</c:v>
                </c:pt>
                <c:pt idx="1">
                  <c:v>5.9340026791601969E-2</c:v>
                </c:pt>
                <c:pt idx="2">
                  <c:v>1.758865305771852E-2</c:v>
                </c:pt>
                <c:pt idx="3">
                  <c:v>8.6755769807100397E-2</c:v>
                </c:pt>
                <c:pt idx="4">
                  <c:v>9.5454453059830011E-2</c:v>
                </c:pt>
                <c:pt idx="5">
                  <c:v>0.16419185743386164</c:v>
                </c:pt>
                <c:pt idx="6">
                  <c:v>0.10109931051650932</c:v>
                </c:pt>
                <c:pt idx="7">
                  <c:v>0.23126948865365854</c:v>
                </c:pt>
                <c:pt idx="8">
                  <c:v>0.10958054110588045</c:v>
                </c:pt>
                <c:pt idx="9">
                  <c:v>4.0985066630500458E-2</c:v>
                </c:pt>
                <c:pt idx="10">
                  <c:v>1.99483087804054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8">
                  <c:v>1.227871486271428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7.0552565846592252E-2</c:v>
                </c:pt>
                <c:pt idx="1">
                  <c:v>5.9339365554137366E-2</c:v>
                </c:pt>
                <c:pt idx="2">
                  <c:v>1.7423306403741547E-2</c:v>
                </c:pt>
                <c:pt idx="3">
                  <c:v>6.7791780110840652E-2</c:v>
                </c:pt>
                <c:pt idx="4">
                  <c:v>8.2592511838207663E-2</c:v>
                </c:pt>
                <c:pt idx="5">
                  <c:v>8.8950608362953099E-2</c:v>
                </c:pt>
                <c:pt idx="6">
                  <c:v>8.3773879686804234E-2</c:v>
                </c:pt>
                <c:pt idx="7">
                  <c:v>0.10956189719240486</c:v>
                </c:pt>
                <c:pt idx="8">
                  <c:v>2.381272470312594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3">
                  <c:v>1.8960484640526343E-2</c:v>
                </c:pt>
                <c:pt idx="5">
                  <c:v>5.4662897821930276E-2</c:v>
                </c:pt>
                <c:pt idx="6">
                  <c:v>4.8275928089849002E-3</c:v>
                </c:pt>
                <c:pt idx="7">
                  <c:v>9.3008679857871826E-2</c:v>
                </c:pt>
                <c:pt idx="8">
                  <c:v>7.0121001509170107E-4</c:v>
                </c:pt>
                <c:pt idx="9">
                  <c:v>6.27181249318052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Unilever</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1.1794736269874495E-3</c:v>
                </c:pt>
                <c:pt idx="5">
                  <c:v>6.5920254359060695E-3</c:v>
                </c:pt>
                <c:pt idx="7">
                  <c:v>5.7825986894367914E-3</c:v>
                </c:pt>
                <c:pt idx="8">
                  <c:v>1.815592519840175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1.1528317232163783E-2</c:v>
                </c:pt>
                <c:pt idx="5">
                  <c:v>1.3739162209199043E-2</c:v>
                </c:pt>
                <c:pt idx="6">
                  <c:v>1.2490599210581405E-2</c:v>
                </c:pt>
                <c:pt idx="7">
                  <c:v>2.2912621419076899E-2</c:v>
                </c:pt>
                <c:pt idx="8">
                  <c:v>5.4630715941416323E-2</c:v>
                </c:pt>
                <c:pt idx="9">
                  <c:v>3.9883315750009952E-2</c:v>
                </c:pt>
                <c:pt idx="10">
                  <c:v>1.99363692182157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399999999999999E-2</c:v>
                </c:pt>
                <c:pt idx="1">
                  <c:v>1.0999999999999999E-2</c:v>
                </c:pt>
                <c:pt idx="2">
                  <c:v>7.2700000000000001E-2</c:v>
                </c:pt>
                <c:pt idx="3">
                  <c:v>1.55E-2</c:v>
                </c:pt>
                <c:pt idx="4">
                  <c:v>0.1333</c:v>
                </c:pt>
                <c:pt idx="5">
                  <c:v>0.19700000000000001</c:v>
                </c:pt>
                <c:pt idx="6">
                  <c:v>4.2999999999999997E-2</c:v>
                </c:pt>
                <c:pt idx="7">
                  <c:v>0.31480000000000002</c:v>
                </c:pt>
                <c:pt idx="8">
                  <c:v>0.17050000000000001</c:v>
                </c:pt>
                <c:pt idx="10">
                  <c:v>6.7999999999999996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131794812806532E-2</c:v>
                </c:pt>
                <c:pt idx="1">
                  <c:v>5.0235265459928511E-3</c:v>
                </c:pt>
                <c:pt idx="2">
                  <c:v>1.3057805980479635E-2</c:v>
                </c:pt>
                <c:pt idx="3">
                  <c:v>8.0802752356516957E-3</c:v>
                </c:pt>
                <c:pt idx="4">
                  <c:v>2.5420281073535118E-2</c:v>
                </c:pt>
                <c:pt idx="5">
                  <c:v>8.5034114307798309E-2</c:v>
                </c:pt>
                <c:pt idx="6">
                  <c:v>4.8257013828892317E-2</c:v>
                </c:pt>
                <c:pt idx="7">
                  <c:v>8.9588846210391176E-2</c:v>
                </c:pt>
                <c:pt idx="8">
                  <c:v>0.19591858637456339</c:v>
                </c:pt>
                <c:pt idx="9">
                  <c:v>8.5179094231147209E-2</c:v>
                </c:pt>
                <c:pt idx="10">
                  <c:v>8.971067298369189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0">
                  <c:v>6.0005512950486641E-3</c:v>
                </c:pt>
                <c:pt idx="1">
                  <c:v>1.9777816867075685E-3</c:v>
                </c:pt>
                <c:pt idx="2">
                  <c:v>1.3055097506692741E-2</c:v>
                </c:pt>
                <c:pt idx="3">
                  <c:v>2.7901119282352045E-3</c:v>
                </c:pt>
                <c:pt idx="4">
                  <c:v>2.3928451194154134E-2</c:v>
                </c:pt>
                <c:pt idx="5">
                  <c:v>3.5374474005369333E-2</c:v>
                </c:pt>
                <c:pt idx="6">
                  <c:v>7.7276197803965259E-3</c:v>
                </c:pt>
                <c:pt idx="7">
                  <c:v>5.6525294069551812E-2</c:v>
                </c:pt>
                <c:pt idx="8">
                  <c:v>3.0610929473432164E-2</c:v>
                </c:pt>
                <c:pt idx="10">
                  <c:v>1.216574674644743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2.2131243517757866E-2</c:v>
                </c:pt>
                <c:pt idx="1">
                  <c:v>3.044183972765182E-3</c:v>
                </c:pt>
                <c:pt idx="3">
                  <c:v>5.2900563111630966E-3</c:v>
                </c:pt>
                <c:pt idx="4">
                  <c:v>1.3278759537635539E-3</c:v>
                </c:pt>
                <c:pt idx="5">
                  <c:v>4.9305986215475467E-2</c:v>
                </c:pt>
                <c:pt idx="6">
                  <c:v>3.8590632426824992E-2</c:v>
                </c:pt>
                <c:pt idx="7">
                  <c:v>3.0980045567983987E-2</c:v>
                </c:pt>
                <c:pt idx="8">
                  <c:v>0.10747227552943403</c:v>
                </c:pt>
                <c:pt idx="10">
                  <c:v>7.901547435202880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6">
                  <c:v>1.938700780663966E-3</c:v>
                </c:pt>
                <c:pt idx="8">
                  <c:v>5.0577143665111429E-2</c:v>
                </c:pt>
                <c:pt idx="9">
                  <c:v>6.4201412986648013E-2</c:v>
                </c:pt>
                <c:pt idx="10">
                  <c:v>6.716826174583260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7">
                  <c:v>7.877840422195971E-4</c:v>
                </c:pt>
                <c:pt idx="8">
                  <c:v>5.2344245532954673E-3</c:v>
                </c:pt>
                <c:pt idx="9">
                  <c:v>2.040146655862311E-2</c:v>
                </c:pt>
                <c:pt idx="10">
                  <c:v>5.882977098328910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7">
                  <c:v>1.0984109495484468E-3</c:v>
                </c:pt>
                <c:pt idx="8">
                  <c:v>1.543907683263329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2200000000000001E-2</c:v>
                </c:pt>
                <c:pt idx="3">
                  <c:v>0.2107</c:v>
                </c:pt>
                <c:pt idx="4">
                  <c:v>0.7670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814616200563933E-2</c:v>
                </c:pt>
                <c:pt idx="1">
                  <c:v>5.3255131404623693E-2</c:v>
                </c:pt>
                <c:pt idx="2">
                  <c:v>2.0686526735272812E-2</c:v>
                </c:pt>
                <c:pt idx="3">
                  <c:v>7.1043498102399918E-2</c:v>
                </c:pt>
                <c:pt idx="4">
                  <c:v>7.937963035619798E-2</c:v>
                </c:pt>
                <c:pt idx="5">
                  <c:v>0.15441175398890034</c:v>
                </c:pt>
                <c:pt idx="6">
                  <c:v>0.11533175185132823</c:v>
                </c:pt>
                <c:pt idx="7">
                  <c:v>0.21356179092618224</c:v>
                </c:pt>
                <c:pt idx="8">
                  <c:v>0.14382688602082314</c:v>
                </c:pt>
                <c:pt idx="9">
                  <c:v>7.4289988673847965E-2</c:v>
                </c:pt>
                <c:pt idx="10">
                  <c:v>1.639842573985973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0163682596745286</c:v>
                </c:pt>
                <c:pt idx="2">
                  <c:v>5.1883445011185136E-2</c:v>
                </c:pt>
                <c:pt idx="3">
                  <c:v>0.11679803088166528</c:v>
                </c:pt>
                <c:pt idx="4">
                  <c:v>0.3000210041677005</c:v>
                </c:pt>
                <c:pt idx="5">
                  <c:v>2.571144943383436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8.662386742745113E-3</c:v>
                </c:pt>
                <c:pt idx="3">
                  <c:v>8.2376899674072232E-2</c:v>
                </c:pt>
                <c:pt idx="4">
                  <c:v>0.2998791854071016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0163682596745286</c:v>
                </c:pt>
                <c:pt idx="2">
                  <c:v>4.3221058268440027E-2</c:v>
                </c:pt>
                <c:pt idx="3">
                  <c:v>3.442113120759304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5">
                  <c:v>2.571144943383436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11E-2</c:v>
                </c:pt>
                <c:pt idx="2">
                  <c:v>0.1075</c:v>
                </c:pt>
                <c:pt idx="5">
                  <c:v>0.1207</c:v>
                </c:pt>
                <c:pt idx="6">
                  <c:v>0.18720000000000001</c:v>
                </c:pt>
                <c:pt idx="7">
                  <c:v>0.41339999999999999</c:v>
                </c:pt>
                <c:pt idx="8">
                  <c:v>0.160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8.655412162173878E-3</c:v>
                </c:pt>
                <c:pt idx="2">
                  <c:v>2.0825852312784936E-2</c:v>
                </c:pt>
                <c:pt idx="4">
                  <c:v>4.0217656111900934E-3</c:v>
                </c:pt>
                <c:pt idx="5">
                  <c:v>6.6133237052712734E-2</c:v>
                </c:pt>
                <c:pt idx="6">
                  <c:v>0.10785989272480505</c:v>
                </c:pt>
                <c:pt idx="7">
                  <c:v>8.0128828630379498E-2</c:v>
                </c:pt>
                <c:pt idx="8">
                  <c:v>0.17928542661337526</c:v>
                </c:pt>
                <c:pt idx="9">
                  <c:v>0.1349815249954588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2.1430574817043442E-3</c:v>
                </c:pt>
                <c:pt idx="2">
                  <c:v>2.0825690387758691E-2</c:v>
                </c:pt>
                <c:pt idx="5">
                  <c:v>2.338602191521642E-2</c:v>
                </c:pt>
                <c:pt idx="6">
                  <c:v>3.6249453950016969E-2</c:v>
                </c:pt>
                <c:pt idx="7">
                  <c:v>8.0068889383165032E-2</c:v>
                </c:pt>
                <c:pt idx="8">
                  <c:v>3.100431103117682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1">
                  <c:v>6.5123546804695337E-3</c:v>
                </c:pt>
                <c:pt idx="4">
                  <c:v>4.0217656111900934E-3</c:v>
                </c:pt>
                <c:pt idx="5">
                  <c:v>4.2699892548576646E-2</c:v>
                </c:pt>
                <c:pt idx="6">
                  <c:v>6.9075205626398087E-2</c:v>
                </c:pt>
                <c:pt idx="8">
                  <c:v>0.1038519379689783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6">
                  <c:v>2.5343223201173704E-3</c:v>
                </c:pt>
                <c:pt idx="8">
                  <c:v>4.4429062916326534E-2</c:v>
                </c:pt>
                <c:pt idx="9">
                  <c:v>8.650947079575213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9">
                  <c:v>4.846458540787122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137</c:v>
                </c:pt>
                <c:pt idx="3">
                  <c:v>2.3E-3</c:v>
                </c:pt>
                <c:pt idx="4">
                  <c:v>7.6100000000000001E-2</c:v>
                </c:pt>
                <c:pt idx="5">
                  <c:v>0.3498</c:v>
                </c:pt>
                <c:pt idx="6">
                  <c:v>2.6200000000000001E-2</c:v>
                </c:pt>
                <c:pt idx="7">
                  <c:v>0.4314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9.1157310095052346E-2</c:v>
                </c:pt>
                <c:pt idx="3">
                  <c:v>1.8190238421762408E-3</c:v>
                </c:pt>
                <c:pt idx="4">
                  <c:v>6.1035710267252193E-2</c:v>
                </c:pt>
                <c:pt idx="5">
                  <c:v>0.28048010488535502</c:v>
                </c:pt>
                <c:pt idx="6">
                  <c:v>2.1040667535275691E-2</c:v>
                </c:pt>
                <c:pt idx="7">
                  <c:v>0.3459636586594829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0">
                  <c:v>9.1157310095052346E-2</c:v>
                </c:pt>
                <c:pt idx="3">
                  <c:v>1.8190238421762408E-3</c:v>
                </c:pt>
                <c:pt idx="4">
                  <c:v>6.1035710267252193E-2</c:v>
                </c:pt>
                <c:pt idx="5">
                  <c:v>0.28048010488535502</c:v>
                </c:pt>
                <c:pt idx="6">
                  <c:v>2.1040667535275691E-2</c:v>
                </c:pt>
                <c:pt idx="7">
                  <c:v>0.3459636586594829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0.76160000000000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2.132508135653080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1">
                  <c:v>6.4665790494433737E-4</c:v>
                </c:pt>
                <c:pt idx="2">
                  <c:v>6.283405111336183E-3</c:v>
                </c:pt>
                <c:pt idx="5">
                  <c:v>7.2190020715444869E-3</c:v>
                </c:pt>
                <c:pt idx="6">
                  <c:v>1.0937935408078369E-2</c:v>
                </c:pt>
                <c:pt idx="7">
                  <c:v>2.4162033584423689E-2</c:v>
                </c:pt>
                <c:pt idx="8">
                  <c:v>1.940934938312455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5.781456530986722E-2</c:v>
                </c:pt>
                <c:pt idx="1">
                  <c:v>5.2607932022666372E-2</c:v>
                </c:pt>
                <c:pt idx="2">
                  <c:v>1.4267721836272155E-2</c:v>
                </c:pt>
                <c:pt idx="3">
                  <c:v>5.551373177155295E-2</c:v>
                </c:pt>
                <c:pt idx="4">
                  <c:v>6.8847187948242711E-2</c:v>
                </c:pt>
                <c:pt idx="5">
                  <c:v>8.5724800488316183E-2</c:v>
                </c:pt>
                <c:pt idx="6">
                  <c:v>8.9442129750089791E-2</c:v>
                </c:pt>
                <c:pt idx="7">
                  <c:v>8.9719952241564607E-2</c:v>
                </c:pt>
                <c:pt idx="8">
                  <c:v>5.083346503167099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3">
                  <c:v>1.552644418616579E-2</c:v>
                </c:pt>
                <c:pt idx="5">
                  <c:v>4.4764317895991973E-2</c:v>
                </c:pt>
                <c:pt idx="6">
                  <c:v>3.9532402110665993E-3</c:v>
                </c:pt>
                <c:pt idx="7">
                  <c:v>7.6163352573572249E-2</c:v>
                </c:pt>
                <c:pt idx="8">
                  <c:v>5.7420990910913422E-4</c:v>
                </c:pt>
                <c:pt idx="9">
                  <c:v>5.135889111891469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4">
                  <c:v>8.0050699510539787E-3</c:v>
                </c:pt>
                <c:pt idx="6">
                  <c:v>1.0992997106289846E-2</c:v>
                </c:pt>
                <c:pt idx="7">
                  <c:v>1.8779566833208982E-2</c:v>
                </c:pt>
                <c:pt idx="8">
                  <c:v>4.3980572667880288E-2</c:v>
                </c:pt>
                <c:pt idx="9">
                  <c:v>3.43185728789504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4">
                  <c:v>2.4011411371559566E-3</c:v>
                </c:pt>
                <c:pt idx="5">
                  <c:v>1.6649225271381969E-2</c:v>
                </c:pt>
                <c:pt idx="7">
                  <c:v>4.7352795830245932E-3</c:v>
                </c:pt>
                <c:pt idx="8">
                  <c:v>2.9028179611849898E-2</c:v>
                </c:pt>
                <c:pt idx="9">
                  <c:v>3.9064830603069166E-2</c:v>
                </c:pt>
                <c:pt idx="10">
                  <c:v>1.63255807965902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7">
                  <c:v>2.132508135653080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5.6500000000000002E-2</c:v>
                </c:pt>
                <c:pt idx="5">
                  <c:v>0.63109999999999999</c:v>
                </c:pt>
                <c:pt idx="7">
                  <c:v>0.295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73785447834915185</c:v>
                </c:pt>
                <c:pt idx="1">
                  <c:v>5.1541517649481075E-2</c:v>
                </c:pt>
                <c:pt idx="2">
                  <c:v>1.4324020611338453E-3</c:v>
                </c:pt>
                <c:pt idx="3">
                  <c:v>1.0835302705636783E-3</c:v>
                </c:pt>
                <c:pt idx="4">
                  <c:v>2.21108112473631E-3</c:v>
                </c:pt>
                <c:pt idx="5">
                  <c:v>2.602569692902704E-2</c:v>
                </c:pt>
                <c:pt idx="6">
                  <c:v>1.7518112563751857E-2</c:v>
                </c:pt>
                <c:pt idx="7">
                  <c:v>8.1620054530064674E-3</c:v>
                </c:pt>
                <c:pt idx="8">
                  <c:v>2.6140254432040883E-3</c:v>
                </c:pt>
                <c:pt idx="9">
                  <c:v>2.116107582146915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2">
                  <c:v>1.4067522722593373E-3</c:v>
                </c:pt>
                <c:pt idx="5">
                  <c:v>1.5705469713491859E-2</c:v>
                </c:pt>
                <c:pt idx="7">
                  <c:v>7.350570915773718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73785447834915185</c:v>
                </c:pt>
                <c:pt idx="1">
                  <c:v>5.1511535125999389E-2</c:v>
                </c:pt>
                <c:pt idx="5">
                  <c:v>2.1046691627839586E-3</c:v>
                </c:pt>
                <c:pt idx="6">
                  <c:v>6.0658284500525819E-4</c:v>
                </c:pt>
                <c:pt idx="7">
                  <c:v>8.1143453723274829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Universal Beauty Prods In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3">
                  <c:v>9.3379096253952323E-4</c:v>
                </c:pt>
                <c:pt idx="4">
                  <c:v>1.710217004146253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6">
                  <c:v>9.020753452149625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00000000000001E-2</c:v>
                </c:pt>
                <c:pt idx="1">
                  <c:v>1.32E-2</c:v>
                </c:pt>
                <c:pt idx="2">
                  <c:v>6.4699999999999994E-2</c:v>
                </c:pt>
                <c:pt idx="3">
                  <c:v>1.37E-2</c:v>
                </c:pt>
                <c:pt idx="4">
                  <c:v>0.1031</c:v>
                </c:pt>
                <c:pt idx="5">
                  <c:v>0.16919999999999999</c:v>
                </c:pt>
                <c:pt idx="6">
                  <c:v>6.25E-2</c:v>
                </c:pt>
                <c:pt idx="7">
                  <c:v>0.2944</c:v>
                </c:pt>
                <c:pt idx="8">
                  <c:v>0.24099999999999999</c:v>
                </c:pt>
                <c:pt idx="9">
                  <c:v>2.8999999999999998E-3</c:v>
                </c:pt>
                <c:pt idx="10">
                  <c:v>5.1000000000000004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042663796472107</c:v>
                </c:pt>
                <c:pt idx="1">
                  <c:v>1.3453865500078963E-2</c:v>
                </c:pt>
                <c:pt idx="2">
                  <c:v>3.5980749098393418E-2</c:v>
                </c:pt>
                <c:pt idx="3">
                  <c:v>6.8158264588788361E-2</c:v>
                </c:pt>
                <c:pt idx="4">
                  <c:v>0.10261235695035056</c:v>
                </c:pt>
                <c:pt idx="5">
                  <c:v>9.5246729925306625E-2</c:v>
                </c:pt>
                <c:pt idx="6">
                  <c:v>0.11829683784830797</c:v>
                </c:pt>
                <c:pt idx="7">
                  <c:v>0.16405425177370969</c:v>
                </c:pt>
                <c:pt idx="8">
                  <c:v>0.12841875086977006</c:v>
                </c:pt>
                <c:pt idx="9">
                  <c:v>5.7041081814469298E-2</c:v>
                </c:pt>
                <c:pt idx="10">
                  <c:v>1.247073198361437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0">
                  <c:v>2.2524558343829425E-3</c:v>
                </c:pt>
                <c:pt idx="1">
                  <c:v>9.7779442670631279E-4</c:v>
                </c:pt>
                <c:pt idx="2">
                  <c:v>4.8126898077149281E-3</c:v>
                </c:pt>
                <c:pt idx="3">
                  <c:v>1.0149409010136046E-3</c:v>
                </c:pt>
                <c:pt idx="4">
                  <c:v>7.6613433512760492E-3</c:v>
                </c:pt>
                <c:pt idx="5">
                  <c:v>1.2579519335041778E-2</c:v>
                </c:pt>
                <c:pt idx="6">
                  <c:v>4.6425501669222083E-3</c:v>
                </c:pt>
                <c:pt idx="7">
                  <c:v>2.1884835080617008E-2</c:v>
                </c:pt>
                <c:pt idx="8">
                  <c:v>1.7909607064401922E-2</c:v>
                </c:pt>
                <c:pt idx="9">
                  <c:v>2.1720970326405647E-4</c:v>
                </c:pt>
                <c:pt idx="10">
                  <c:v>3.7560981821252334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004703813147877</c:v>
                </c:pt>
                <c:pt idx="1">
                  <c:v>1.2275725127795999E-2</c:v>
                </c:pt>
                <c:pt idx="2">
                  <c:v>1.8469185089462294E-2</c:v>
                </c:pt>
                <c:pt idx="3">
                  <c:v>6.691343801468097E-2</c:v>
                </c:pt>
                <c:pt idx="4">
                  <c:v>8.2952644153203706E-2</c:v>
                </c:pt>
                <c:pt idx="5">
                  <c:v>4.2441430178880114E-2</c:v>
                </c:pt>
                <c:pt idx="6">
                  <c:v>9.7661800196153892E-2</c:v>
                </c:pt>
                <c:pt idx="7">
                  <c:v>5.565914094374548E-2</c:v>
                </c:pt>
                <c:pt idx="8">
                  <c:v>4.970521261066959E-2</c:v>
                </c:pt>
                <c:pt idx="9">
                  <c:v>1.721754842547292E-3</c:v>
                </c:pt>
                <c:pt idx="10">
                  <c:v>8.2735376205324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1.3951274516831598E-3</c:v>
                </c:pt>
                <c:pt idx="7">
                  <c:v>5.1419770360222725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rem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2">
                  <c:v>5.2530171597464694E-6</c:v>
                </c:pt>
                <c:pt idx="3">
                  <c:v>3.7470702667157887E-7</c:v>
                </c:pt>
                <c:pt idx="5">
                  <c:v>4.1940006166629257E-4</c:v>
                </c:pt>
                <c:pt idx="6">
                  <c:v>7.0565746233392543E-4</c:v>
                </c:pt>
                <c:pt idx="7">
                  <c:v>2.7420917836099253E-5</c:v>
                </c:pt>
                <c:pt idx="8">
                  <c:v>1.0244580711936257E-6</c:v>
                </c:pt>
                <c:pt idx="9">
                  <c:v>1.6696789789510767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2">
                  <c:v>1.2678038160748631E-2</c:v>
                </c:pt>
                <c:pt idx="4">
                  <c:v>1.1522241070151051E-2</c:v>
                </c:pt>
                <c:pt idx="5">
                  <c:v>3.9109438223357197E-2</c:v>
                </c:pt>
                <c:pt idx="6">
                  <c:v>1.4824271995437722E-2</c:v>
                </c:pt>
                <c:pt idx="7">
                  <c:v>8.5489831379327003E-2</c:v>
                </c:pt>
                <c:pt idx="8">
                  <c:v>6.0152208246359126E-2</c:v>
                </c:pt>
                <c:pt idx="9">
                  <c:v>5.4984525272847355E-2</c:v>
                </c:pt>
                <c:pt idx="10">
                  <c:v>1.071862263609471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0400000000000001E-2</c:v>
                </c:pt>
                <c:pt idx="5">
                  <c:v>6.4699999999999994E-2</c:v>
                </c:pt>
                <c:pt idx="8">
                  <c:v>0.20039999999999999</c:v>
                </c:pt>
                <c:pt idx="9">
                  <c:v>0.55279999999999996</c:v>
                </c:pt>
                <c:pt idx="10">
                  <c:v>0.161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042663796472107</c:v>
                </c:pt>
                <c:pt idx="1">
                  <c:v>1.3453865500078963E-2</c:v>
                </c:pt>
                <c:pt idx="2">
                  <c:v>3.5980749098393418E-2</c:v>
                </c:pt>
                <c:pt idx="3">
                  <c:v>6.8158264588788361E-2</c:v>
                </c:pt>
                <c:pt idx="4">
                  <c:v>0.10261235695035056</c:v>
                </c:pt>
                <c:pt idx="5">
                  <c:v>9.5246729925306625E-2</c:v>
                </c:pt>
                <c:pt idx="6">
                  <c:v>0.11829683784830797</c:v>
                </c:pt>
                <c:pt idx="7">
                  <c:v>0.16405425177370969</c:v>
                </c:pt>
                <c:pt idx="8">
                  <c:v>0.12841875086977006</c:v>
                </c:pt>
                <c:pt idx="9">
                  <c:v>5.7041081814469298E-2</c:v>
                </c:pt>
                <c:pt idx="10">
                  <c:v>1.247073198361437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B$2:$B$12</c:f>
              <c:numCache>
                <c:formatCode>General</c:formatCode>
                <c:ptCount val="11"/>
                <c:pt idx="4">
                  <c:v>4.6289066893120349E-4</c:v>
                </c:pt>
                <c:pt idx="5">
                  <c:v>1.4696417298368136E-3</c:v>
                </c:pt>
                <c:pt idx="8">
                  <c:v>4.5502958731983966E-3</c:v>
                </c:pt>
                <c:pt idx="9">
                  <c:v>1.2550446211611391E-2</c:v>
                </c:pt>
                <c:pt idx="10">
                  <c:v>3.668089920874638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C$2:$C$12</c:f>
              <c:numCache>
                <c:formatCode>General</c:formatCode>
                <c:ptCount val="11"/>
                <c:pt idx="0">
                  <c:v>0.2004703813147877</c:v>
                </c:pt>
                <c:pt idx="1">
                  <c:v>1.2275725127795999E-2</c:v>
                </c:pt>
                <c:pt idx="2">
                  <c:v>1.8469185089462294E-2</c:v>
                </c:pt>
                <c:pt idx="3">
                  <c:v>6.691343801468097E-2</c:v>
                </c:pt>
                <c:pt idx="4">
                  <c:v>8.2952644153203706E-2</c:v>
                </c:pt>
                <c:pt idx="5">
                  <c:v>4.2441430178880114E-2</c:v>
                </c:pt>
                <c:pt idx="6">
                  <c:v>9.7661800196153892E-2</c:v>
                </c:pt>
                <c:pt idx="7">
                  <c:v>5.565914094374548E-2</c:v>
                </c:pt>
                <c:pt idx="8">
                  <c:v>4.970521261066959E-2</c:v>
                </c:pt>
                <c:pt idx="9">
                  <c:v>1.721754842547292E-3</c:v>
                </c:pt>
                <c:pt idx="10">
                  <c:v>8.2735376205324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D$2:$D$12</c:f>
              <c:numCache>
                <c:formatCode>General</c:formatCode>
                <c:ptCount val="11"/>
                <c:pt idx="0">
                  <c:v>1.3951274516831598E-3</c:v>
                </c:pt>
                <c:pt idx="7">
                  <c:v>5.1419770360222725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E$2:$E$12</c:f>
              <c:numCache>
                <c:formatCode>General</c:formatCode>
                <c:ptCount val="11"/>
                <c:pt idx="0">
                  <c:v>2.2524558343829425E-3</c:v>
                </c:pt>
                <c:pt idx="1">
                  <c:v>9.7779442670631279E-4</c:v>
                </c:pt>
                <c:pt idx="2">
                  <c:v>4.8126898077149281E-3</c:v>
                </c:pt>
                <c:pt idx="3">
                  <c:v>1.0149409010136046E-3</c:v>
                </c:pt>
                <c:pt idx="4">
                  <c:v>7.6613433512760492E-3</c:v>
                </c:pt>
                <c:pt idx="5">
                  <c:v>1.2579519335041778E-2</c:v>
                </c:pt>
                <c:pt idx="6">
                  <c:v>4.6425501669222083E-3</c:v>
                </c:pt>
                <c:pt idx="7">
                  <c:v>2.1884835080617008E-2</c:v>
                </c:pt>
                <c:pt idx="8">
                  <c:v>1.7909607064401922E-2</c:v>
                </c:pt>
                <c:pt idx="9">
                  <c:v>2.1720970326405647E-4</c:v>
                </c:pt>
                <c:pt idx="10">
                  <c:v>3.756098182125233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30+ $</c:v>
                </c:pt>
                <c:pt idx="1">
                  <c:v>27-29.99 $</c:v>
                </c:pt>
                <c:pt idx="2">
                  <c:v>24-26.99 $</c:v>
                </c:pt>
                <c:pt idx="3">
                  <c:v>21-23.99 $</c:v>
                </c:pt>
                <c:pt idx="4">
                  <c:v>18-20.99 $</c:v>
                </c:pt>
                <c:pt idx="5">
                  <c:v>15-17.99 $</c:v>
                </c:pt>
                <c:pt idx="6">
                  <c:v>12-14.99 $</c:v>
                </c:pt>
                <c:pt idx="7">
                  <c:v>9-11.99 $</c:v>
                </c:pt>
                <c:pt idx="8">
                  <c:v>6-8.99 $</c:v>
                </c:pt>
                <c:pt idx="9">
                  <c:v>3-5.99 $</c:v>
                </c:pt>
                <c:pt idx="10">
                  <c:v>0-2.99 $</c:v>
                </c:pt>
              </c:strCache>
            </c:strRef>
          </c:cat>
          <c:val>
            <c:numRef>
              <c:f>Sheet1!$F$2:$F$12</c:f>
              <c:numCache>
                <c:formatCode>General</c:formatCode>
                <c:ptCount val="11"/>
                <c:pt idx="2">
                  <c:v>1.2683291177908377E-2</c:v>
                </c:pt>
                <c:pt idx="3">
                  <c:v>3.7470702667157887E-7</c:v>
                </c:pt>
                <c:pt idx="4">
                  <c:v>1.1059350401219846E-2</c:v>
                </c:pt>
                <c:pt idx="5">
                  <c:v>3.8059196555186671E-2</c:v>
                </c:pt>
                <c:pt idx="6">
                  <c:v>1.5529929457771648E-2</c:v>
                </c:pt>
                <c:pt idx="7">
                  <c:v>8.5517252297163102E-2</c:v>
                </c:pt>
                <c:pt idx="8">
                  <c:v>5.5602936831231922E-2</c:v>
                </c:pt>
                <c:pt idx="9">
                  <c:v>4.2434246029133857E-2</c:v>
                </c:pt>
                <c:pt idx="10">
                  <c:v>7.050532715220074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6/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8/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8/6/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8/6/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8/6/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8/6/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8/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8/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8/6/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0.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299.xml"/><Relationship Id="rId5" Type="http://schemas.openxmlformats.org/officeDocument/2006/relationships/chart" Target="../charts/chart298.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3.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302.xml"/><Relationship Id="rId5" Type="http://schemas.openxmlformats.org/officeDocument/2006/relationships/chart" Target="../charts/chart3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6.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305.xml"/><Relationship Id="rId5" Type="http://schemas.openxmlformats.org/officeDocument/2006/relationships/chart" Target="../charts/chart304.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9.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308.xml"/><Relationship Id="rId5" Type="http://schemas.openxmlformats.org/officeDocument/2006/relationships/chart" Target="../charts/chart307.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12.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chart" Target="../charts/chart311.xml"/><Relationship Id="rId5" Type="http://schemas.openxmlformats.org/officeDocument/2006/relationships/chart" Target="../charts/chart310.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15.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chart" Target="../charts/chart314.xml"/><Relationship Id="rId5" Type="http://schemas.openxmlformats.org/officeDocument/2006/relationships/chart" Target="../charts/chart313.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18.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chart" Target="../charts/chart317.xml"/><Relationship Id="rId5" Type="http://schemas.openxmlformats.org/officeDocument/2006/relationships/chart" Target="../charts/chart31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21.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chart" Target="../charts/chart320.xml"/><Relationship Id="rId5" Type="http://schemas.openxmlformats.org/officeDocument/2006/relationships/chart" Target="../charts/chart319.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24.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323.xml"/><Relationship Id="rId5" Type="http://schemas.openxmlformats.org/officeDocument/2006/relationships/chart" Target="../charts/chart322.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281.xml"/><Relationship Id="rId5" Type="http://schemas.openxmlformats.org/officeDocument/2006/relationships/chart" Target="../charts/chart280.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284.xml"/><Relationship Id="rId5" Type="http://schemas.openxmlformats.org/officeDocument/2006/relationships/chart" Target="../charts/chart283.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287.xml"/><Relationship Id="rId5" Type="http://schemas.openxmlformats.org/officeDocument/2006/relationships/chart" Target="../charts/chart28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1.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290.xml"/><Relationship Id="rId5" Type="http://schemas.openxmlformats.org/officeDocument/2006/relationships/chart" Target="../charts/chart289.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4.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293.xml"/><Relationship Id="rId5" Type="http://schemas.openxmlformats.org/officeDocument/2006/relationships/chart" Target="../charts/chart292.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7.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296.xml"/><Relationship Id="rId5" Type="http://schemas.openxmlformats.org/officeDocument/2006/relationships/chart" Target="../charts/chart29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Manual Shave M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087669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azor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83389795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ensitive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48039106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ensitive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2353546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Dry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31737679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Dry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1805495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m Typ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59070366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m Typ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13724338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m Typ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31072886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m Typ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520415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m Typ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1486672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fill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7411177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fill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7280193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1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888736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2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5404496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2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4478863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3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526617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3 Blade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4485920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3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980424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4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5461418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Manual Shave Men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1073329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5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5230065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5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1242919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m Blad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8606973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m Blad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9677545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Normal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3472704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Normal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1982297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ensitive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90220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ensitive Skin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3484652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ensitive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5019243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Dry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329560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Manual Shave Me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8565117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Dry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0355549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m Typ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901649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Manual Shave M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0971361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Manual Shave M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3869800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Manual Shave M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9837865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Manual Shave Men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4483579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Manual Shave Men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3002294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Manual Shave Me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2180329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Manual Shave Me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9947604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Manual Shave Me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5972398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ystem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3427474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ystem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5906584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ystem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7242752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ystem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718735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ystem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8914039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ystem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9082595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ystem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072393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ystem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6470517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Disposabl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9940938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Disposabl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6589749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Disposabl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7579886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ystem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667239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Disposabl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7132207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Disposabl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5540422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azor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6908833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azor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0610899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azor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0089834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azor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5878571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azor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31830772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azor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7817172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azor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4615271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fill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0838270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Disposabl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12485915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fill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21484370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fill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31770184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fill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9803625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fill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09700581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fill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042671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1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00372702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1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5204518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2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0319074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2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0673335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2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1671187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Disposabl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42993580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2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27576328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3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4805775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3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41297990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3 Blade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80696316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3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87985721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3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35669872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4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1383619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4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3638533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4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43302065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4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5061901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Disposabl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76053905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5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89878458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5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73348396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5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02673845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5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26177932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5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2227556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5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36242096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m Blad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54561671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m Blad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37699569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m Blad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73799148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m Blad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1248893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azor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09583976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Rem Blad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35362285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Normal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38975232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Normal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11881828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Normal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10664677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Normal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71877219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Normal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91035708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Normal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52008835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ensitive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71129294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ensitive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29209590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ensitive Skin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3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27-2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24-26.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21-2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18-2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15-17.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12-1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9-1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6-8.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3-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1982966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9560</Words>
  <Application>Microsoft Office PowerPoint</Application>
  <PresentationFormat>On-screen Show (16:9)</PresentationFormat>
  <Paragraphs>3645</Paragraphs>
  <Slides>10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8</vt:i4>
      </vt:variant>
    </vt:vector>
  </HeadingPairs>
  <TitlesOfParts>
    <vt:vector size="117"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Yomna ABDULLATIF</cp:lastModifiedBy>
  <cp:revision>77</cp:revision>
  <dcterms:created xsi:type="dcterms:W3CDTF">2024-07-05T11:30:58Z</dcterms:created>
  <dcterms:modified xsi:type="dcterms:W3CDTF">2025-08-06T10:0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